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3" r:id="rId8"/>
    <p:sldMasterId id="2147483795" r:id="rId9"/>
  </p:sldMasterIdLst>
  <p:notesMasterIdLst>
    <p:notesMasterId r:id="rId13"/>
  </p:notesMasterIdLst>
  <p:sldIdLst>
    <p:sldId id="268" r:id="rId10"/>
    <p:sldId id="2147483647" r:id="rId11"/>
    <p:sldId id="262" r:id="rId12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625546C-9C28-6BED-5C51-D0E1FA4C4ADC}" name="Pia Andersen" initials="PA" userId="S::piande@regsj.dk::8835a96b-9032-4357-8cd5-bfdd210d679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23091"/>
    <a:srgbClr val="113A57"/>
    <a:srgbClr val="E4E4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F05663-F763-426A-9BE1-D4432E93DAEE}" v="3" dt="2025-09-01T05:58:05.4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70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customXml" Target="../customXml/item7.xml"/><Relationship Id="rId12" Type="http://schemas.openxmlformats.org/officeDocument/2006/relationships/slide" Target="slides/slide3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5" Type="http://schemas.openxmlformats.org/officeDocument/2006/relationships/customXml" Target="../customXml/item5.xml"/><Relationship Id="rId15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ben Ellen Beckmann" userId="70a99ee5-fa7d-428a-b438-842f6a18f0d0" providerId="ADAL" clId="{3D8B02A0-508A-45B7-9319-0611F0BA35B7}"/>
    <pc:docChg chg="delSld">
      <pc:chgData name="Iben Ellen Beckmann" userId="70a99ee5-fa7d-428a-b438-842f6a18f0d0" providerId="ADAL" clId="{3D8B02A0-508A-45B7-9319-0611F0BA35B7}" dt="2025-08-24T17:37:10.036" v="0" actId="2696"/>
      <pc:docMkLst>
        <pc:docMk/>
      </pc:docMkLst>
      <pc:sldChg chg="del">
        <pc:chgData name="Iben Ellen Beckmann" userId="70a99ee5-fa7d-428a-b438-842f6a18f0d0" providerId="ADAL" clId="{3D8B02A0-508A-45B7-9319-0611F0BA35B7}" dt="2025-08-24T17:37:10.036" v="0" actId="2696"/>
        <pc:sldMkLst>
          <pc:docMk/>
          <pc:sldMk cId="4164705075" sldId="262"/>
        </pc:sldMkLst>
      </pc:sldChg>
    </pc:docChg>
  </pc:docChgLst>
  <pc:docChgLst>
    <pc:chgData name="Pia Andersen" userId="8835a96b-9032-4357-8cd5-bfdd210d679c" providerId="ADAL" clId="{D2CD1B94-AEB0-4465-86B8-052ADFB067D2}"/>
    <pc:docChg chg="custSel addSld delSld modSld delMainMaster">
      <pc:chgData name="Pia Andersen" userId="8835a96b-9032-4357-8cd5-bfdd210d679c" providerId="ADAL" clId="{D2CD1B94-AEB0-4465-86B8-052ADFB067D2}" dt="2025-03-27T06:52:56.616" v="29" actId="20577"/>
      <pc:docMkLst>
        <pc:docMk/>
      </pc:docMkLst>
      <pc:sldChg chg="del">
        <pc:chgData name="Pia Andersen" userId="8835a96b-9032-4357-8cd5-bfdd210d679c" providerId="ADAL" clId="{D2CD1B94-AEB0-4465-86B8-052ADFB067D2}" dt="2025-03-27T06:52:45.746" v="28" actId="47"/>
        <pc:sldMkLst>
          <pc:docMk/>
          <pc:sldMk cId="276655565" sldId="256"/>
        </pc:sldMkLst>
      </pc:sldChg>
      <pc:sldChg chg="del">
        <pc:chgData name="Pia Andersen" userId="8835a96b-9032-4357-8cd5-bfdd210d679c" providerId="ADAL" clId="{D2CD1B94-AEB0-4465-86B8-052ADFB067D2}" dt="2025-03-04T14:16:14.118" v="5" actId="47"/>
        <pc:sldMkLst>
          <pc:docMk/>
          <pc:sldMk cId="913835118" sldId="257"/>
        </pc:sldMkLst>
      </pc:sldChg>
      <pc:sldChg chg="del">
        <pc:chgData name="Pia Andersen" userId="8835a96b-9032-4357-8cd5-bfdd210d679c" providerId="ADAL" clId="{D2CD1B94-AEB0-4465-86B8-052ADFB067D2}" dt="2025-03-27T06:52:44.120" v="27" actId="47"/>
        <pc:sldMkLst>
          <pc:docMk/>
          <pc:sldMk cId="1548193880" sldId="257"/>
        </pc:sldMkLst>
      </pc:sldChg>
      <pc:sldChg chg="del">
        <pc:chgData name="Pia Andersen" userId="8835a96b-9032-4357-8cd5-bfdd210d679c" providerId="ADAL" clId="{D2CD1B94-AEB0-4465-86B8-052ADFB067D2}" dt="2025-03-04T14:16:14.971" v="7" actId="47"/>
        <pc:sldMkLst>
          <pc:docMk/>
          <pc:sldMk cId="227940934" sldId="261"/>
        </pc:sldMkLst>
      </pc:sldChg>
      <pc:sldChg chg="delSp modSp mod">
        <pc:chgData name="Pia Andersen" userId="8835a96b-9032-4357-8cd5-bfdd210d679c" providerId="ADAL" clId="{D2CD1B94-AEB0-4465-86B8-052ADFB067D2}" dt="2025-03-04T14:16:39.620" v="19" actId="20577"/>
        <pc:sldMkLst>
          <pc:docMk/>
          <pc:sldMk cId="4164705075" sldId="262"/>
        </pc:sldMkLst>
      </pc:sldChg>
      <pc:sldChg chg="del">
        <pc:chgData name="Pia Andersen" userId="8835a96b-9032-4357-8cd5-bfdd210d679c" providerId="ADAL" clId="{D2CD1B94-AEB0-4465-86B8-052ADFB067D2}" dt="2025-03-04T14:16:10.523" v="2" actId="47"/>
        <pc:sldMkLst>
          <pc:docMk/>
          <pc:sldMk cId="3516977920" sldId="267"/>
        </pc:sldMkLst>
      </pc:sldChg>
      <pc:sldChg chg="delSp modSp add del mod">
        <pc:chgData name="Pia Andersen" userId="8835a96b-9032-4357-8cd5-bfdd210d679c" providerId="ADAL" clId="{D2CD1B94-AEB0-4465-86B8-052ADFB067D2}" dt="2025-03-27T06:52:56.616" v="29" actId="20577"/>
        <pc:sldMkLst>
          <pc:docMk/>
          <pc:sldMk cId="3430433866" sldId="268"/>
        </pc:sldMkLst>
      </pc:sldChg>
      <pc:sldChg chg="del">
        <pc:chgData name="Pia Andersen" userId="8835a96b-9032-4357-8cd5-bfdd210d679c" providerId="ADAL" clId="{D2CD1B94-AEB0-4465-86B8-052ADFB067D2}" dt="2025-03-04T14:16:14.575" v="6" actId="47"/>
        <pc:sldMkLst>
          <pc:docMk/>
          <pc:sldMk cId="3870019604" sldId="275"/>
        </pc:sldMkLst>
      </pc:sldChg>
      <pc:sldChg chg="del">
        <pc:chgData name="Pia Andersen" userId="8835a96b-9032-4357-8cd5-bfdd210d679c" providerId="ADAL" clId="{D2CD1B94-AEB0-4465-86B8-052ADFB067D2}" dt="2025-03-04T14:16:11.056" v="3" actId="47"/>
        <pc:sldMkLst>
          <pc:docMk/>
          <pc:sldMk cId="3435289278" sldId="278"/>
        </pc:sldMkLst>
      </pc:sldChg>
      <pc:sldChg chg="del">
        <pc:chgData name="Pia Andersen" userId="8835a96b-9032-4357-8cd5-bfdd210d679c" providerId="ADAL" clId="{D2CD1B94-AEB0-4465-86B8-052ADFB067D2}" dt="2025-03-04T14:16:10.051" v="1" actId="47"/>
        <pc:sldMkLst>
          <pc:docMk/>
          <pc:sldMk cId="2597160976" sldId="309"/>
        </pc:sldMkLst>
      </pc:sldChg>
      <pc:sldChg chg="del">
        <pc:chgData name="Pia Andersen" userId="8835a96b-9032-4357-8cd5-bfdd210d679c" providerId="ADAL" clId="{D2CD1B94-AEB0-4465-86B8-052ADFB067D2}" dt="2025-03-04T14:16:09.500" v="0" actId="47"/>
        <pc:sldMkLst>
          <pc:docMk/>
          <pc:sldMk cId="3464868597" sldId="2147483646"/>
        </pc:sldMkLst>
      </pc:sldChg>
      <pc:sldMasterChg chg="del delSldLayout">
        <pc:chgData name="Pia Andersen" userId="8835a96b-9032-4357-8cd5-bfdd210d679c" providerId="ADAL" clId="{D2CD1B94-AEB0-4465-86B8-052ADFB067D2}" dt="2025-03-04T14:16:14.971" v="7" actId="47"/>
        <pc:sldMasterMkLst>
          <pc:docMk/>
          <pc:sldMasterMk cId="2451193382" sldId="2147483762"/>
        </pc:sldMasterMkLst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1798416276" sldId="2147483751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2331317901" sldId="2147483752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4032701621" sldId="2147483753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3580886021" sldId="2147483754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517989823" sldId="2147483755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2279189219" sldId="2147483756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2659305377" sldId="2147483757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916908409" sldId="2147483758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3790171632" sldId="2147483759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2468940094" sldId="2147483760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1016704014" sldId="2147483761"/>
          </pc:sldLayoutMkLst>
        </pc:sldLayoutChg>
        <pc:sldLayoutChg chg="del">
          <pc:chgData name="Pia Andersen" userId="8835a96b-9032-4357-8cd5-bfdd210d679c" providerId="ADAL" clId="{D2CD1B94-AEB0-4465-86B8-052ADFB067D2}" dt="2025-03-04T14:16:10.051" v="1" actId="47"/>
          <pc:sldLayoutMkLst>
            <pc:docMk/>
            <pc:sldMasterMk cId="2451193382" sldId="2147483762"/>
            <pc:sldLayoutMk cId="1062588401" sldId="2147483765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3079414137" sldId="2147483766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2010393126" sldId="2147483771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3671199528" sldId="2147483777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3973041758" sldId="2147483778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4134285174" sldId="2147483780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2001763010" sldId="2147483781"/>
          </pc:sldLayoutMkLst>
        </pc:sldLayoutChg>
        <pc:sldLayoutChg chg="del">
          <pc:chgData name="Pia Andersen" userId="8835a96b-9032-4357-8cd5-bfdd210d679c" providerId="ADAL" clId="{D2CD1B94-AEB0-4465-86B8-052ADFB067D2}" dt="2025-03-04T14:16:14.971" v="7" actId="47"/>
          <pc:sldLayoutMkLst>
            <pc:docMk/>
            <pc:sldMasterMk cId="2451193382" sldId="2147483762"/>
            <pc:sldLayoutMk cId="2803793937" sldId="2147483782"/>
          </pc:sldLayoutMkLst>
        </pc:sldLayoutChg>
      </pc:sldMasterChg>
      <pc:sldMasterChg chg="delSldLayout">
        <pc:chgData name="Pia Andersen" userId="8835a96b-9032-4357-8cd5-bfdd210d679c" providerId="ADAL" clId="{D2CD1B94-AEB0-4465-86B8-052ADFB067D2}" dt="2025-03-27T06:52:44.120" v="27" actId="47"/>
        <pc:sldMasterMkLst>
          <pc:docMk/>
          <pc:sldMasterMk cId="4226379474" sldId="2147483783"/>
        </pc:sldMasterMkLst>
        <pc:sldLayoutChg chg="del">
          <pc:chgData name="Pia Andersen" userId="8835a96b-9032-4357-8cd5-bfdd210d679c" providerId="ADAL" clId="{D2CD1B94-AEB0-4465-86B8-052ADFB067D2}" dt="2025-03-27T06:52:44.120" v="27" actId="47"/>
          <pc:sldLayoutMkLst>
            <pc:docMk/>
            <pc:sldMasterMk cId="4226379474" sldId="2147483783"/>
            <pc:sldLayoutMk cId="3390619773" sldId="2147483815"/>
          </pc:sldLayoutMkLst>
        </pc:sldLayoutChg>
      </pc:sldMasterChg>
    </pc:docChg>
  </pc:docChgLst>
  <pc:docChgLst>
    <pc:chgData name="Morten Lund Al-Neaimy Skov" userId="2b72acfa-c7af-4266-96bb-b9a1481f2eef" providerId="ADAL" clId="{55132199-A89C-4B75-BC25-E7BCA5682391}"/>
    <pc:docChg chg="custSel addSld modSld sldOrd">
      <pc:chgData name="Morten Lund Al-Neaimy Skov" userId="2b72acfa-c7af-4266-96bb-b9a1481f2eef" providerId="ADAL" clId="{55132199-A89C-4B75-BC25-E7BCA5682391}" dt="2025-03-18T13:06:24.535" v="13" actId="167"/>
      <pc:docMkLst>
        <pc:docMk/>
      </pc:docMkLst>
      <pc:sldChg chg="add ord">
        <pc:chgData name="Morten Lund Al-Neaimy Skov" userId="2b72acfa-c7af-4266-96bb-b9a1481f2eef" providerId="ADAL" clId="{55132199-A89C-4B75-BC25-E7BCA5682391}" dt="2025-03-18T13:05:36.500" v="4"/>
        <pc:sldMkLst>
          <pc:docMk/>
          <pc:sldMk cId="276655565" sldId="256"/>
        </pc:sldMkLst>
      </pc:sldChg>
      <pc:sldChg chg="addSp delSp modSp add mod ord">
        <pc:chgData name="Morten Lund Al-Neaimy Skov" userId="2b72acfa-c7af-4266-96bb-b9a1481f2eef" providerId="ADAL" clId="{55132199-A89C-4B75-BC25-E7BCA5682391}" dt="2025-03-18T13:06:24.535" v="13" actId="167"/>
        <pc:sldMkLst>
          <pc:docMk/>
          <pc:sldMk cId="1548193880" sldId="257"/>
        </pc:sldMkLst>
      </pc:sldChg>
      <pc:sldChg chg="modSp mod">
        <pc:chgData name="Morten Lund Al-Neaimy Skov" userId="2b72acfa-c7af-4266-96bb-b9a1481f2eef" providerId="ADAL" clId="{55132199-A89C-4B75-BC25-E7BCA5682391}" dt="2025-03-18T13:05:55.175" v="8" actId="1076"/>
        <pc:sldMkLst>
          <pc:docMk/>
          <pc:sldMk cId="3430433866" sldId="268"/>
        </pc:sldMkLst>
      </pc:sldChg>
    </pc:docChg>
  </pc:docChgLst>
  <pc:docChgLst>
    <pc:chgData name="Pia Andersen" userId="8835a96b-9032-4357-8cd5-bfdd210d679c" providerId="ADAL" clId="{70F05663-F763-426A-9BE1-D4432E93DAEE}"/>
    <pc:docChg chg="addSld delSld modSld">
      <pc:chgData name="Pia Andersen" userId="8835a96b-9032-4357-8cd5-bfdd210d679c" providerId="ADAL" clId="{70F05663-F763-426A-9BE1-D4432E93DAEE}" dt="2025-09-01T05:58:05.440" v="2"/>
      <pc:docMkLst>
        <pc:docMk/>
      </pc:docMkLst>
      <pc:sldChg chg="add del">
        <pc:chgData name="Pia Andersen" userId="8835a96b-9032-4357-8cd5-bfdd210d679c" providerId="ADAL" clId="{70F05663-F763-426A-9BE1-D4432E93DAEE}" dt="2025-09-01T05:58:05.440" v="2"/>
        <pc:sldMkLst>
          <pc:docMk/>
          <pc:sldMk cId="4164705075" sldId="26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89F8FC-68FF-49F1-876F-BADE6A1EAEC7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68010B-B47F-45AD-932D-8FDA1ECD719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25321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8082C2-1D87-B35D-8D21-2569F2A7A3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8C2E01-E869-03EF-B676-4A567E14CD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8113" y="1347788"/>
            <a:ext cx="6462712" cy="3636962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8D1FEB-5214-10D4-C375-70520B9190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tropolis"/>
              <a:ea typeface="+mn-ea"/>
              <a:cs typeface="Segoe U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CA4063-B440-E100-48FA-4D62997FEC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2456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180EA4-E2FE-0F9E-39CC-799ACE81F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3BFA6077-1EC3-B4C0-0E8F-CCFA66A218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60B86464-4E94-B2AD-FA81-1EDC56BA88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910970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2450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152459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75868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356132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0C4F9-5EE7-47B7-B965-368EB53A43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7700" y="1181099"/>
            <a:ext cx="6864724" cy="3581399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A4A1F1-374F-4FC8-89F7-83065EA4F5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7700" y="5075227"/>
            <a:ext cx="6864724" cy="868374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B5CB5F-AE9B-4C02-B16F-C462CAFC1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14B1CC-830B-4695-B174-D9E9100A8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DCD43F-E516-4123-A6D8-DB72C3CC5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2844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FF197-4D72-4945-8068-57D52018E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C81FA8-039D-4BAF-8AAB-7B6616AFEE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27357F-46A1-493A-A5E4-1D7FAE5B9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7277BC-26F9-4B14-A2DC-C7575C5A6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7BC3FF-EE25-45FB-A7A8-AAA522F70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5142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596BE-9AF9-4E97-9204-5B672D797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362200"/>
            <a:ext cx="7696200" cy="2400300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EDF98A-E8AE-4443-9A8C-CB35DEB2CE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81200" y="5067300"/>
            <a:ext cx="7696200" cy="87630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B7114B-35CB-40C5-BCC8-C5039524F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1AA324-982E-42C4-8002-5F236877C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401596-9353-4C1A-972E-6522F2B42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7750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BF0BC9-7469-437A-B92B-0A2627E4B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B7D887-595C-4649-AF8E-E78307000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4400" y="1825625"/>
            <a:ext cx="49911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9FE29C-ED37-4DD9-949F-0024342619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0" y="1825625"/>
            <a:ext cx="5029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F6AA34-8CC0-4E5B-8396-0AC756331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DF7398-73FE-4D27-AFF9-91BEBFED3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00880-10EE-4115-8BBB-13DDF270D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3395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FF3C9B-D20D-43FA-BA18-D50F86A91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371" y="647699"/>
            <a:ext cx="10625229" cy="11506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52F00A-F4EE-40FC-9325-373840422D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5863" y="1879599"/>
            <a:ext cx="5157787" cy="675641"/>
          </a:xfrm>
        </p:spPr>
        <p:txBody>
          <a:bodyPr anchor="b">
            <a:no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75DD90-A306-4A8B-A54C-8033B7F7F0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5863" y="2560955"/>
            <a:ext cx="5157787" cy="3649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40E0AA-F8F8-4862-B27B-50FAF2F34D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94412" y="1879599"/>
            <a:ext cx="5183188" cy="675641"/>
          </a:xfrm>
        </p:spPr>
        <p:txBody>
          <a:bodyPr anchor="b">
            <a:no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FEBDD6-EDA1-4CE7-9DDC-9D977E12DD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94412" y="2560955"/>
            <a:ext cx="5183188" cy="3649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0044487-D350-4434-A5C7-A96942FFC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89DC43-E591-42BF-82EE-E4887E4BC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8CD421-2D00-41DD-A393-4739E389D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823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39A8B-0FAF-431C-9657-9003FA037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BBA2A1-331D-40F8-867B-CE1501136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0995C1-5121-47B6-AC6D-F60C0FF66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DBE022-9B54-431C-80D5-5D8F2AFCB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9895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015B6E5-6347-41F6-85FC-3BF3652D1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6A93F6-45F8-4453-B5DC-B2F3D5D0B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E364E1-213B-4AF0-80D7-8101EFD5E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1537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90B5D-E76D-4797-AD77-15625D675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372" y="647700"/>
            <a:ext cx="4119654" cy="1714500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744D8D-C9CF-43B2-905D-2368B17A5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0188" y="914400"/>
            <a:ext cx="5737412" cy="50291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B4BF0C-D14C-46D7-ACDD-1885DDD883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52372" y="2697479"/>
            <a:ext cx="4119654" cy="324611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FD7D8D-72E7-4ABD-BB87-80BB490031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D9C1CE-C8CE-4364-A021-ADC2D6472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E6FA33-09EF-495A-853E-63750CA37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33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09155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EF023E-952E-40DF-A101-74D22789D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372" y="647700"/>
            <a:ext cx="4119654" cy="1714500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41E98DD-BF5D-4CCA-8C66-F2A6CE11271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486400" y="914400"/>
            <a:ext cx="5791200" cy="50291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EC22A6-F2C2-4A88-BEE5-2D6CEB520E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52372" y="2697480"/>
            <a:ext cx="4119654" cy="317150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A1F755-C7AF-4C50-8CA8-828612A76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EDE175-E818-477C-A3F6-7DD65C1268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D0B8E3-DB91-440B-818F-71E4248BB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9443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08C0AF-44D0-4830-AF13-49B8522BE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1B4D8C-6045-47B3-9A0C-F2215A904C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9A9F1-F398-416A-A8C0-0A36D838DD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37F801-C9FB-4A34-8386-BA9FBACCB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E05176-F6E9-4997-8355-74F2A4560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0133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BEBC807-13E1-4F3F-83FA-FD9BD24F3B1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986520" y="647699"/>
            <a:ext cx="2291080" cy="52959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7E2EAA-155E-482E-A2B8-547653B253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52371" y="647699"/>
            <a:ext cx="8120789" cy="52959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4A4BDC-BDD0-417D-AF7C-516EE556D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663EC-23F9-4202-80F3-F8E550884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C8402D-7367-485B-AEA6-5AB2B8209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3050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F1E336AE-8CB4-4529-830F-507DFCDE9C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0" t="23825" b="66811"/>
          <a:stretch/>
        </p:blipFill>
        <p:spPr>
          <a:xfrm>
            <a:off x="0" y="1"/>
            <a:ext cx="12192000" cy="1089025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1F48E1B-9F90-418E-A557-BB78186DB4E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261" y="387563"/>
            <a:ext cx="693459" cy="342107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76D6E3C-2003-4E26-BF3C-F773F4B5FC8A}"/>
              </a:ext>
            </a:extLst>
          </p:cNvPr>
          <p:cNvCxnSpPr/>
          <p:nvPr userDrawn="1"/>
        </p:nvCxnSpPr>
        <p:spPr>
          <a:xfrm>
            <a:off x="1197428" y="333829"/>
            <a:ext cx="0" cy="395841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33CB6F4C-4671-4E1A-A19D-CC228DA422B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3982" y="359909"/>
            <a:ext cx="700599" cy="369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7430459-9F5B-4A96-B9FC-17BB1DA096FD}"/>
              </a:ext>
            </a:extLst>
          </p:cNvPr>
          <p:cNvCxnSpPr/>
          <p:nvPr userDrawn="1"/>
        </p:nvCxnSpPr>
        <p:spPr>
          <a:xfrm>
            <a:off x="2278743" y="333829"/>
            <a:ext cx="0" cy="395841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C524E1F3-47A8-4CBD-B70A-2E5AAF8D37D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3524" y="387563"/>
            <a:ext cx="902541" cy="197431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2BCF495-27FA-4004-9D2E-4DC5EF1206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47846" y="210458"/>
            <a:ext cx="3693895" cy="461604"/>
          </a:xfrm>
        </p:spPr>
        <p:txBody>
          <a:bodyPr lIns="0" anchor="b">
            <a:normAutofit/>
          </a:bodyPr>
          <a:lstStyle>
            <a:lvl1pPr marL="0" indent="0" algn="r">
              <a:buNone/>
              <a:defRPr sz="1400" b="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a-DK"/>
              <a:t>Titel her</a:t>
            </a:r>
          </a:p>
        </p:txBody>
      </p:sp>
    </p:spTree>
    <p:extLst>
      <p:ext uri="{BB962C8B-B14F-4D97-AF65-F5344CB8AC3E}">
        <p14:creationId xmlns:p14="http://schemas.microsoft.com/office/powerpoint/2010/main" val="252170955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8" y="240214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/>
        </p:nvCxnSpPr>
        <p:spPr>
          <a:xfrm>
            <a:off x="574675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6"/>
            <a:ext cx="3337200" cy="359997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5" y="2177295"/>
            <a:ext cx="33372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0075" y="1702235"/>
            <a:ext cx="3337200" cy="359999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70075" y="2177295"/>
            <a:ext cx="3337200" cy="3723351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5475" y="1702235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965475" y="2177295"/>
            <a:ext cx="33372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DBE936-48E4-4946-BA55-7CCA6953C5C2}"/>
              </a:ext>
            </a:extLst>
          </p:cNvPr>
          <p:cNvCxnSpPr>
            <a:cxnSpLocks/>
          </p:cNvCxnSpPr>
          <p:nvPr/>
        </p:nvCxnSpPr>
        <p:spPr>
          <a:xfrm>
            <a:off x="4089172" y="1535725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02E2EA-3B2C-481D-AB29-010E6BABB039}"/>
              </a:ext>
            </a:extLst>
          </p:cNvPr>
          <p:cNvCxnSpPr>
            <a:cxnSpLocks/>
          </p:cNvCxnSpPr>
          <p:nvPr/>
        </p:nvCxnSpPr>
        <p:spPr>
          <a:xfrm>
            <a:off x="7781443" y="1535725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A1AC012-00E4-9C7A-059A-8515B5187E61}"/>
              </a:ext>
            </a:extLst>
          </p:cNvPr>
          <p:cNvCxnSpPr>
            <a:cxnSpLocks/>
          </p:cNvCxnSpPr>
          <p:nvPr userDrawn="1"/>
        </p:nvCxnSpPr>
        <p:spPr>
          <a:xfrm>
            <a:off x="574675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4780EE0-B960-0F66-71E5-76B5BEA47E0D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5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899281-1F79-FD69-E1AD-FE985C6FBE25}"/>
              </a:ext>
            </a:extLst>
          </p:cNvPr>
          <p:cNvCxnSpPr>
            <a:cxnSpLocks/>
          </p:cNvCxnSpPr>
          <p:nvPr userDrawn="1"/>
        </p:nvCxnSpPr>
        <p:spPr>
          <a:xfrm>
            <a:off x="7781443" y="1535725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216960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402C85-47D5-4BA3-B460-50D7FF445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402C85-47D5-4BA3-B460-50D7FF445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715F302A-0D50-4962-B3B3-E2B21EAD4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 vert="horz"/>
          <a:lstStyle>
            <a:lvl1pPr>
              <a:defRPr b="1">
                <a:latin typeface="+mj-lt"/>
              </a:defRPr>
            </a:lvl1pPr>
          </a:lstStyle>
          <a:p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edit</a:t>
            </a:r>
            <a:r>
              <a:rPr lang="da-DK" noProof="0"/>
              <a:t> Master </a:t>
            </a:r>
            <a:r>
              <a:rPr lang="da-DK" noProof="0" err="1"/>
              <a:t>title</a:t>
            </a:r>
            <a:r>
              <a:rPr lang="da-DK" noProof="0"/>
              <a:t>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06EFC3C-CD14-42F0-B726-607447B574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add</a:t>
            </a:r>
            <a:r>
              <a:rPr lang="da-DK" noProof="0"/>
              <a:t> </a:t>
            </a:r>
            <a:r>
              <a:rPr lang="da-DK" noProof="0" err="1"/>
              <a:t>subtitle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392223346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D48FE-FAA1-410E-B865-7C0F0038A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1C6701B-F0B4-47F4-8341-77991D1F2E45}"/>
              </a:ext>
            </a:extLst>
          </p:cNvPr>
          <p:cNvSpPr txBox="1">
            <a:spLocks/>
          </p:cNvSpPr>
          <p:nvPr userDrawn="1"/>
        </p:nvSpPr>
        <p:spPr>
          <a:xfrm>
            <a:off x="11523600" y="6502394"/>
            <a:ext cx="394921" cy="104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nr.›</a:t>
            </a:fld>
            <a:endParaRPr lang="en-GB" sz="650">
              <a:solidFill>
                <a:srgbClr val="1F2023"/>
              </a:solidFill>
            </a:endParaRP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EA11F624-BD22-45E9-9135-62CE0DE64F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607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F4AFCB-ED13-224C-8E6E-75E87CB91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B9EBBCB-32B8-E745-96E7-222B1DCB7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CA72BD5-F3F6-4216-807B-14A52CC93A7D}" type="datetime2">
              <a:rPr lang="da-DK" smtClean="0"/>
              <a:t>1. september 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A67EA5B-6A60-4646-9F1A-8B55851A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Region Sjælland slide deck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2CF3D0B-3304-EF48-B707-436B82BA36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EC214-4A26-8544-86E4-D5810B01565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907232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/3 + 1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8" y="240215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138" b="1">
                <a:solidFill>
                  <a:schemeClr val="tx1"/>
                </a:solidFill>
              </a:defRPr>
            </a:lvl1pPr>
            <a:lvl2pPr marL="650081" indent="-278606" algn="l">
              <a:buFont typeface="Arial" panose="020B0604020202020204" pitchFamily="34" charset="0"/>
              <a:buChar char="•"/>
              <a:defRPr sz="1625"/>
            </a:lvl2pPr>
            <a:lvl3pPr marL="975122" indent="-232172" algn="l">
              <a:buFont typeface="Arial" panose="020B0604020202020204" pitchFamily="34" charset="0"/>
              <a:buChar char="•"/>
              <a:defRPr sz="1625"/>
            </a:lvl3pPr>
            <a:lvl4pPr marL="1346597" indent="-232172" algn="l">
              <a:buFont typeface="Arial" panose="020B0604020202020204" pitchFamily="34" charset="0"/>
              <a:buChar char="•"/>
              <a:defRPr sz="1625"/>
            </a:lvl4pPr>
            <a:lvl5pPr marL="1718072" indent="-232172" algn="l">
              <a:buFont typeface="Arial" panose="020B0604020202020204" pitchFamily="34" charset="0"/>
              <a:buChar char="•"/>
              <a:defRPr sz="1625"/>
            </a:lvl5pPr>
            <a:lvl6pPr marL="2089547" indent="-232172" algn="l">
              <a:buFont typeface="Arial" panose="020B0604020202020204" pitchFamily="34" charset="0"/>
              <a:buChar char="•"/>
              <a:defRPr sz="1625"/>
            </a:lvl6pPr>
            <a:lvl7pPr marL="2461022" indent="-232172" algn="l">
              <a:buFont typeface="Arial" panose="020B0604020202020204" pitchFamily="34" charset="0"/>
              <a:buChar char="•"/>
              <a:defRPr sz="1625"/>
            </a:lvl7pPr>
            <a:lvl8pPr marL="2832497" indent="-232172" algn="l">
              <a:buFont typeface="Arial" panose="020B0604020202020204" pitchFamily="34" charset="0"/>
              <a:buChar char="•"/>
              <a:defRPr sz="1625"/>
            </a:lvl8pPr>
            <a:lvl9pPr marL="3203972" indent="-232172" algn="l">
              <a:buFont typeface="Arial" panose="020B0604020202020204" pitchFamily="34" charset="0"/>
              <a:buChar char="•"/>
              <a:defRPr sz="1625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65800" y="1916113"/>
            <a:ext cx="3337200" cy="3981450"/>
          </a:xfrm>
        </p:spPr>
        <p:txBody>
          <a:bodyPr/>
          <a:lstStyle>
            <a:lvl1pPr>
              <a:defRPr sz="1138"/>
            </a:lvl1pPr>
            <a:lvl2pPr>
              <a:defRPr sz="975"/>
            </a:lvl2pPr>
            <a:lvl3pPr>
              <a:defRPr sz="813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4675" y="1916113"/>
            <a:ext cx="7030800" cy="3981450"/>
          </a:xfrm>
        </p:spPr>
        <p:txBody>
          <a:bodyPr/>
          <a:lstStyle>
            <a:lvl1pPr>
              <a:defRPr sz="1138"/>
            </a:lvl1pPr>
            <a:lvl2pPr>
              <a:defRPr sz="975"/>
            </a:lvl2pPr>
            <a:lvl3pPr>
              <a:defRPr sz="813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ndview Display"/>
              <a:ea typeface="+mn-ea"/>
              <a:cs typeface="+mn-cs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ndview Display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US" sz="900" b="1" i="0" u="none" strike="noStrike" kern="1200" cap="none" spc="10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ndview Display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1" i="0" u="none" strike="noStrike" kern="1200" cap="none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ndview Display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270460A-F26E-4CEE-9E4F-84CF192002D8}"/>
              </a:ext>
            </a:extLst>
          </p:cNvPr>
          <p:cNvCxnSpPr>
            <a:cxnSpLocks/>
          </p:cNvCxnSpPr>
          <p:nvPr/>
        </p:nvCxnSpPr>
        <p:spPr>
          <a:xfrm>
            <a:off x="7781442" y="1535725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39189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6BBA78-1D04-A8F6-8F7D-E38F41F707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6BBA78-1D04-A8F6-8F7D-E38F41F70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Click to add title in max two lines, if two lines, delete sub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/>
              <a:t>Click to edit Master text styles</a:t>
            </a:r>
            <a:endParaRPr lang="en-GB"/>
          </a:p>
          <a:p>
            <a:pPr lvl="1"/>
            <a:r>
              <a:rPr lang="en-GB" noProof="0"/>
              <a:t>Second level</a:t>
            </a:r>
            <a:endParaRPr lang="en-GB"/>
          </a:p>
          <a:p>
            <a:pPr lvl="2"/>
            <a:r>
              <a:rPr lang="en-GB" noProof="0"/>
              <a:t>Third level</a:t>
            </a:r>
            <a:endParaRPr lang="en-GB"/>
          </a:p>
          <a:p>
            <a:pPr lvl="3"/>
            <a:r>
              <a:rPr lang="en-GB" noProof="0"/>
              <a:t>Fourth level</a:t>
            </a:r>
            <a:endParaRPr lang="en-GB"/>
          </a:p>
          <a:p>
            <a:pPr lvl="4"/>
            <a:r>
              <a:rPr lang="en-GB" noProof="0"/>
              <a:t>Fifth level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9368714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360136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en-GB"/>
              <a:t>Click here to insert image via Templafy Image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en-GB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628201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325955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97996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5900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45790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6040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6015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4E8AE7-ED20-4CB5-819E-2F82495D2214}" type="datetimeFigureOut">
              <a:rPr lang="da-DK" smtClean="0"/>
              <a:t>01-09-2025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EF7625-6A3F-4DE4-8B7E-2F4F44826D0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26379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5EB7D6-B8CB-49E3-874F-2255BEE82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371" y="647700"/>
            <a:ext cx="10625229" cy="11470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BEEAC5-A8AB-4FE8-A270-D70F7DED4A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2371" y="2095500"/>
            <a:ext cx="10620855" cy="384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B6506C-52BF-4C05-AD31-7C08B80151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2371" y="6332538"/>
            <a:ext cx="3006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spc="100" baseline="0">
                <a:solidFill>
                  <a:schemeClr val="tx1"/>
                </a:solidFill>
              </a:defRPr>
            </a:lvl1pPr>
          </a:lstStyle>
          <a:p>
            <a:fld id="{D341B595-366B-43E2-A22E-EA6A78C03F06}" type="datetimeFigureOut">
              <a:rPr lang="en-US" smtClean="0"/>
              <a:t>9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534630-6C67-4A40-A499-CB025B2438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34169" y="6332538"/>
            <a:ext cx="35054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spc="100" baseline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64E14B-0EE8-4015-809C-DD36B5459B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4747" y="6332538"/>
            <a:ext cx="5398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spc="100" baseline="0">
                <a:solidFill>
                  <a:schemeClr val="tx1"/>
                </a:solidFill>
              </a:defRPr>
            </a:lvl1pPr>
          </a:lstStyle>
          <a:p>
            <a:fld id="{4BA915EE-10CB-4CF1-8569-6154455DA5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80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  <p:sldLayoutId id="2147483810" r:id="rId15"/>
    <p:sldLayoutId id="2147483811" r:id="rId16"/>
    <p:sldLayoutId id="2147483812" r:id="rId17"/>
    <p:sldLayoutId id="2147483813" r:id="rId18"/>
    <p:sldLayoutId id="2147483814" r:id="rId19"/>
  </p:sldLayoutIdLst>
  <p:txStyles>
    <p:titleStyle>
      <a:lvl1pPr algn="l" defTabSz="914400" rtl="0" eaLnBrk="1" latinLnBrk="0" hangingPunct="1">
        <a:lnSpc>
          <a:spcPct val="120000"/>
        </a:lnSpc>
        <a:spcBef>
          <a:spcPct val="0"/>
        </a:spcBef>
        <a:buNone/>
        <a:defRPr sz="3600" kern="1200" cap="all" spc="300" baseline="0">
          <a:solidFill>
            <a:srgbClr val="FFFFFF"/>
          </a:solidFill>
          <a:highlight>
            <a:srgbClr val="000000"/>
          </a:highligh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SzPct val="7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SzPct val="7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SzPct val="7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6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884BF-D8BE-DD6E-C525-AA50E208CD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8FBA10DC-6327-C102-2812-9F432B26CE09}"/>
              </a:ext>
            </a:extLst>
          </p:cNvPr>
          <p:cNvSpPr/>
          <p:nvPr/>
        </p:nvSpPr>
        <p:spPr>
          <a:xfrm>
            <a:off x="0" y="0"/>
            <a:ext cx="12208381" cy="6858005"/>
          </a:xfrm>
          <a:prstGeom prst="rect">
            <a:avLst/>
          </a:prstGeom>
          <a:solidFill>
            <a:srgbClr val="113A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E8E61165-85D3-6C0B-607A-CDC567CCC2F5}"/>
              </a:ext>
            </a:extLst>
          </p:cNvPr>
          <p:cNvSpPr/>
          <p:nvPr/>
        </p:nvSpPr>
        <p:spPr>
          <a:xfrm>
            <a:off x="0" y="0"/>
            <a:ext cx="12187450" cy="817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EF2BBBAA-2106-F57E-0544-2125C6A9E6A1}"/>
              </a:ext>
            </a:extLst>
          </p:cNvPr>
          <p:cNvSpPr/>
          <p:nvPr/>
        </p:nvSpPr>
        <p:spPr>
          <a:xfrm>
            <a:off x="391115" y="423616"/>
            <a:ext cx="11445285" cy="70788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ørgsmål til virksomheder der henvender sig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AE3A0333-7397-4FF7-7CB5-411BDE71F3A6}"/>
              </a:ext>
            </a:extLst>
          </p:cNvPr>
          <p:cNvSpPr txBox="1"/>
          <p:nvPr/>
        </p:nvSpPr>
        <p:spPr>
          <a:xfrm>
            <a:off x="274971" y="1752436"/>
            <a:ext cx="12150058" cy="459324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457200" algn="l"/>
              </a:tabLst>
              <a:defRPr/>
            </a:pPr>
            <a:r>
              <a:rPr kumimoji="0" lang="da-DK" sz="12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Om løsningen og dens værdi</a:t>
            </a:r>
            <a:endParaRPr kumimoji="0" lang="da-DK" sz="1200" b="0" i="0" u="none" strike="noStrike" kern="1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Aptos" panose="020B0004020202020204" pitchFamily="34" charset="0"/>
              <a:cs typeface="Times New Roman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914400" algn="l"/>
              </a:tabLst>
              <a:defRPr/>
            </a:pPr>
            <a:r>
              <a:rPr kumimoji="0" lang="da-DK" sz="1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Hvilket konkret problem eller behov adresserer din/jeres løsning? Og hvor langt er du/I med udviklingen af løsningen?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914400" algn="l"/>
              </a:tabLst>
              <a:defRPr/>
            </a:pPr>
            <a:r>
              <a:rPr kumimoji="0" lang="da-DK" sz="1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Hvilken værdi bidrager din/jeres løsning med, og hvordan måler i effekten? (fx forbedret kvalitet, øget effektivitet eller reducerede omkostninger eller lignende)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914400" algn="l"/>
              </a:tabLst>
              <a:defRPr/>
            </a:pPr>
            <a:r>
              <a:rPr kumimoji="0" lang="da-DK" sz="1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Hvad gør din/jeres løsning unik? (sammenlignet med eksisterende alternativer fx teknologisk, økonomisk eller funktionelt)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457200" algn="l"/>
              </a:tabLst>
              <a:defRPr/>
            </a:pPr>
            <a:r>
              <a:rPr kumimoji="0" lang="da-DK" sz="12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Behov og samarbejde</a:t>
            </a:r>
            <a:endParaRPr kumimoji="0" lang="da-DK" sz="1200" b="0" i="0" u="none" strike="noStrike" kern="1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Aptos" panose="020B0004020202020204" pitchFamily="34" charset="0"/>
              <a:cs typeface="Times New Roman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914400" algn="l"/>
              </a:tabLst>
              <a:defRPr/>
            </a:pPr>
            <a:r>
              <a:rPr kumimoji="0" lang="da-DK" sz="1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Hvordan har du/I identificeret, at der er et behov for din/jeres løsning i sundhedsvæsnet?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914400" algn="l"/>
              </a:tabLst>
              <a:defRPr/>
            </a:pPr>
            <a:r>
              <a:rPr kumimoji="0" lang="da-DK" sz="1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Hvordan ser du/I hospitalets rolle i udvikling, test og implementering af din/jeres løsning? (fx data, brugerinvolvering eller test eller blot salg)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914400" algn="l"/>
              </a:tabLst>
              <a:defRPr/>
            </a:pPr>
            <a:r>
              <a:rPr kumimoji="0" lang="da-DK" sz="1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Hvad er din/jeres erfaring med at samarbejde med offentlige institutioner?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457200" algn="l"/>
              </a:tabLst>
              <a:defRPr/>
            </a:pPr>
            <a:r>
              <a:rPr kumimoji="0" lang="da-DK" sz="12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Om konkurrenter og markedet</a:t>
            </a:r>
            <a:endParaRPr kumimoji="0" lang="da-DK" sz="1200" b="0" i="0" u="none" strike="noStrike" kern="1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Aptos" panose="020B0004020202020204" pitchFamily="34" charset="0"/>
              <a:cs typeface="Times New Roman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914400" algn="l"/>
              </a:tabLst>
              <a:defRPr/>
            </a:pPr>
            <a:r>
              <a:rPr kumimoji="0" lang="da-DK" sz="1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Hvem er din/jeres største konkurrenter, og hvordan skiller din/jeres løsning sig ud? 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914400" algn="l"/>
              </a:tabLst>
              <a:defRPr/>
            </a:pPr>
            <a:r>
              <a:rPr kumimoji="0" lang="da-DK" sz="1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Hvordan passer din/jeres løsning ind i eksisterende systemer og arbejdsgange på hospitalet? (fx behov for integration, potentielle tekniske eller organisatoriske udfordringe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457200" algn="l"/>
              </a:tabLst>
              <a:defRPr/>
            </a:pPr>
            <a:r>
              <a:rPr kumimoji="0" lang="da-DK" sz="12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Om skalerbarhed og bæredygtighed</a:t>
            </a:r>
            <a:endParaRPr kumimoji="0" lang="da-DK" sz="1200" b="0" i="0" u="none" strike="noStrike" kern="1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Aptos" panose="020B0004020202020204" pitchFamily="34" charset="0"/>
              <a:cs typeface="Times New Roman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914400" algn="l"/>
              </a:tabLst>
              <a:defRPr/>
            </a:pPr>
            <a:r>
              <a:rPr kumimoji="0" lang="da-DK" sz="1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Hvordan planlægger du/I at skalere din/jeres løsning til andre hospitaler og regioner? </a:t>
            </a:r>
          </a:p>
          <a:p>
            <a:pPr marL="742950" marR="0" lvl="1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914400" algn="l"/>
              </a:tabLst>
              <a:defRPr/>
            </a:pPr>
            <a:r>
              <a:rPr kumimoji="0" lang="da-DK" sz="1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Aptos" panose="020B0004020202020204" pitchFamily="34" charset="0"/>
                <a:cs typeface="Times New Roman"/>
              </a:rPr>
              <a:t>Hvordan sikrer du/I, at din/jeres løsning er bæredygtig – både økonomisk, socialt og miljømæssigt?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430433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AD8330-EDDA-12DC-9416-6055D17D4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2">
            <a:extLst>
              <a:ext uri="{FF2B5EF4-FFF2-40B4-BE49-F238E27FC236}">
                <a16:creationId xmlns:a16="http://schemas.microsoft.com/office/drawing/2014/main" id="{C00FD8AC-ACD5-B99E-D117-5FD4F8678082}"/>
              </a:ext>
            </a:extLst>
          </p:cNvPr>
          <p:cNvSpPr/>
          <p:nvPr/>
        </p:nvSpPr>
        <p:spPr>
          <a:xfrm>
            <a:off x="8954659" y="865892"/>
            <a:ext cx="2975306" cy="1242159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t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Finansieringsforslag:</a:t>
            </a:r>
            <a:endParaRPr kumimoji="0" lang="da-DK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Helvetica Neue"/>
              </a:rPr>
              <a:t>…</a:t>
            </a: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</p:txBody>
      </p:sp>
      <p:sp>
        <p:nvSpPr>
          <p:cNvPr id="85" name="Rectangle 4">
            <a:extLst>
              <a:ext uri="{FF2B5EF4-FFF2-40B4-BE49-F238E27FC236}">
                <a16:creationId xmlns:a16="http://schemas.microsoft.com/office/drawing/2014/main" id="{5FC0B156-B1B3-FEB6-870A-47A662EA1426}"/>
              </a:ext>
            </a:extLst>
          </p:cNvPr>
          <p:cNvSpPr/>
          <p:nvPr/>
        </p:nvSpPr>
        <p:spPr>
          <a:xfrm>
            <a:off x="2969143" y="252707"/>
            <a:ext cx="2796100" cy="631556"/>
          </a:xfrm>
          <a:prstGeom prst="rect">
            <a:avLst/>
          </a:prstGeom>
          <a:solidFill>
            <a:srgbClr val="21364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584000" tIns="71437" rIns="71437" bIns="71437" numCol="1" spcCol="38100" rtlCol="0" anchor="ctr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B</a:t>
            </a: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EHOV OG LØSNING</a:t>
            </a:r>
          </a:p>
        </p:txBody>
      </p:sp>
      <p:sp>
        <p:nvSpPr>
          <p:cNvPr id="86" name="Rectangle 5">
            <a:extLst>
              <a:ext uri="{FF2B5EF4-FFF2-40B4-BE49-F238E27FC236}">
                <a16:creationId xmlns:a16="http://schemas.microsoft.com/office/drawing/2014/main" id="{74433CD2-804C-2334-A04D-1F512436C19F}"/>
              </a:ext>
            </a:extLst>
          </p:cNvPr>
          <p:cNvSpPr/>
          <p:nvPr/>
        </p:nvSpPr>
        <p:spPr>
          <a:xfrm>
            <a:off x="8936105" y="227258"/>
            <a:ext cx="2984380" cy="640590"/>
          </a:xfrm>
          <a:prstGeom prst="rect">
            <a:avLst/>
          </a:prstGeom>
          <a:solidFill>
            <a:srgbClr val="21364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584000" tIns="71437" rIns="71437" bIns="71437" numCol="1" spcCol="38100" rtlCol="0" anchor="ctr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SETUP</a:t>
            </a:r>
            <a:endParaRPr kumimoji="0" lang="da-DK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</p:txBody>
      </p:sp>
      <p:sp>
        <p:nvSpPr>
          <p:cNvPr id="87" name="Rectangle 7">
            <a:extLst>
              <a:ext uri="{FF2B5EF4-FFF2-40B4-BE49-F238E27FC236}">
                <a16:creationId xmlns:a16="http://schemas.microsoft.com/office/drawing/2014/main" id="{8A6760C9-2957-D7DA-BE0D-B1DC291D087A}"/>
              </a:ext>
            </a:extLst>
          </p:cNvPr>
          <p:cNvSpPr/>
          <p:nvPr/>
        </p:nvSpPr>
        <p:spPr>
          <a:xfrm>
            <a:off x="5946545" y="242691"/>
            <a:ext cx="2803079" cy="623201"/>
          </a:xfrm>
          <a:prstGeom prst="rect">
            <a:avLst/>
          </a:prstGeom>
          <a:solidFill>
            <a:srgbClr val="21364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584000" tIns="71437" rIns="71437" bIns="71437" numCol="1" spcCol="38100" rtlCol="0" anchor="ctr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SAMARBEJDE</a:t>
            </a:r>
            <a:endParaRPr kumimoji="0" lang="da-DK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</p:txBody>
      </p:sp>
      <p:graphicFrame>
        <p:nvGraphicFramePr>
          <p:cNvPr id="88" name="Table 21">
            <a:extLst>
              <a:ext uri="{FF2B5EF4-FFF2-40B4-BE49-F238E27FC236}">
                <a16:creationId xmlns:a16="http://schemas.microsoft.com/office/drawing/2014/main" id="{E51576C5-9545-40E8-E88F-58D6B27D95D2}"/>
              </a:ext>
            </a:extLst>
          </p:cNvPr>
          <p:cNvGraphicFramePr>
            <a:graphicFrameLocks noGrp="1"/>
          </p:cNvGraphicFramePr>
          <p:nvPr/>
        </p:nvGraphicFramePr>
        <p:xfrm>
          <a:off x="228187" y="252705"/>
          <a:ext cx="2560289" cy="33896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92794">
                  <a:extLst>
                    <a:ext uri="{9D8B030D-6E8A-4147-A177-3AD203B41FA5}">
                      <a16:colId xmlns:a16="http://schemas.microsoft.com/office/drawing/2014/main" val="41989816"/>
                    </a:ext>
                  </a:extLst>
                </a:gridCol>
                <a:gridCol w="1367495">
                  <a:extLst>
                    <a:ext uri="{9D8B030D-6E8A-4147-A177-3AD203B41FA5}">
                      <a16:colId xmlns:a16="http://schemas.microsoft.com/office/drawing/2014/main" val="1593878834"/>
                    </a:ext>
                  </a:extLst>
                </a:gridCol>
              </a:tblGrid>
              <a:tr h="458428">
                <a:tc>
                  <a:txBody>
                    <a:bodyPr/>
                    <a:lstStyle/>
                    <a:p>
                      <a:r>
                        <a:rPr lang="da-DK" sz="1600" b="0">
                          <a:solidFill>
                            <a:schemeClr val="bg1"/>
                          </a:solidFill>
                        </a:rPr>
                        <a:t>O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0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254869"/>
                  </a:ext>
                </a:extLst>
              </a:tr>
              <a:tr h="458428">
                <a:tc>
                  <a:txBody>
                    <a:bodyPr/>
                    <a:lstStyle/>
                    <a:p>
                      <a:r>
                        <a:rPr lang="da-DK" sz="1000" b="1">
                          <a:solidFill>
                            <a:schemeClr val="bg1"/>
                          </a:solidFill>
                        </a:rPr>
                        <a:t>Virksomhedsnav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883699"/>
                  </a:ext>
                </a:extLst>
              </a:tr>
              <a:tr h="458428">
                <a:tc>
                  <a:txBody>
                    <a:bodyPr/>
                    <a:lstStyle/>
                    <a:p>
                      <a:r>
                        <a:rPr lang="da-DK" sz="1000" b="1">
                          <a:solidFill>
                            <a:schemeClr val="bg1"/>
                          </a:solidFill>
                        </a:rPr>
                        <a:t>Produktnav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633529"/>
                  </a:ext>
                </a:extLst>
              </a:tr>
              <a:tr h="844471">
                <a:tc>
                  <a:txBody>
                    <a:bodyPr/>
                    <a:lstStyle/>
                    <a:p>
                      <a:r>
                        <a:rPr lang="da-DK" sz="1000" b="1" err="1">
                          <a:solidFill>
                            <a:schemeClr val="bg1"/>
                          </a:solidFill>
                        </a:rPr>
                        <a:t>Opstartsår</a:t>
                      </a:r>
                      <a:r>
                        <a:rPr lang="da-DK" sz="1000" b="1">
                          <a:solidFill>
                            <a:schemeClr val="bg1"/>
                          </a:solidFill>
                        </a:rPr>
                        <a:t> for virksomhed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269617"/>
                  </a:ext>
                </a:extLst>
              </a:tr>
              <a:tr h="711481">
                <a:tc>
                  <a:txBody>
                    <a:bodyPr/>
                    <a:lstStyle/>
                    <a:p>
                      <a:r>
                        <a:rPr lang="da-DK" sz="1000" b="1">
                          <a:solidFill>
                            <a:schemeClr val="bg1"/>
                          </a:solidFill>
                        </a:rPr>
                        <a:t>Nuværende omsætning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628577"/>
                  </a:ext>
                </a:extLst>
              </a:tr>
              <a:tr h="458428">
                <a:tc>
                  <a:txBody>
                    <a:bodyPr/>
                    <a:lstStyle/>
                    <a:p>
                      <a:r>
                        <a:rPr lang="da-DK" sz="1000" b="1">
                          <a:solidFill>
                            <a:schemeClr val="bg1"/>
                          </a:solidFill>
                        </a:rPr>
                        <a:t>CE-mærkn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ersion 1: …</a:t>
                      </a:r>
                      <a:endParaRPr lang="da-DK" sz="3600"/>
                    </a:p>
                    <a:p>
                      <a:pPr lvl="0">
                        <a:buNone/>
                      </a:pPr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ersion 2: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880857"/>
                  </a:ext>
                </a:extLst>
              </a:tr>
            </a:tbl>
          </a:graphicData>
        </a:graphic>
      </p:graphicFrame>
      <p:sp>
        <p:nvSpPr>
          <p:cNvPr id="89" name="Rectangle 22">
            <a:extLst>
              <a:ext uri="{FF2B5EF4-FFF2-40B4-BE49-F238E27FC236}">
                <a16:creationId xmlns:a16="http://schemas.microsoft.com/office/drawing/2014/main" id="{E9AA7E30-5EA9-1D1B-33E1-43A9A5DAC9C4}"/>
              </a:ext>
            </a:extLst>
          </p:cNvPr>
          <p:cNvSpPr/>
          <p:nvPr/>
        </p:nvSpPr>
        <p:spPr>
          <a:xfrm>
            <a:off x="233161" y="3772747"/>
            <a:ext cx="2550339" cy="2203152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noAutofit/>
          </a:bodyPr>
          <a:lstStyle/>
          <a:p>
            <a:pPr marL="0" marR="0" lvl="0" indent="0" algn="ctr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Billede af produkt</a:t>
            </a:r>
          </a:p>
        </p:txBody>
      </p:sp>
      <p:sp>
        <p:nvSpPr>
          <p:cNvPr id="90" name="Rectangle 24">
            <a:extLst>
              <a:ext uri="{FF2B5EF4-FFF2-40B4-BE49-F238E27FC236}">
                <a16:creationId xmlns:a16="http://schemas.microsoft.com/office/drawing/2014/main" id="{B745DDCF-48EC-E3BE-890C-BBDC346A0382}"/>
              </a:ext>
            </a:extLst>
          </p:cNvPr>
          <p:cNvSpPr/>
          <p:nvPr/>
        </p:nvSpPr>
        <p:spPr>
          <a:xfrm>
            <a:off x="8954659" y="3674720"/>
            <a:ext cx="2989561" cy="621842"/>
          </a:xfrm>
          <a:prstGeom prst="rect">
            <a:avLst/>
          </a:prstGeom>
          <a:solidFill>
            <a:srgbClr val="21364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584000" tIns="71437" rIns="71437" bIns="71437" numCol="1" spcCol="38100" rtlCol="0" anchor="ctr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MÅLSÆTNING</a:t>
            </a:r>
          </a:p>
        </p:txBody>
      </p:sp>
      <p:grpSp>
        <p:nvGrpSpPr>
          <p:cNvPr id="91" name="Group 26">
            <a:extLst>
              <a:ext uri="{FF2B5EF4-FFF2-40B4-BE49-F238E27FC236}">
                <a16:creationId xmlns:a16="http://schemas.microsoft.com/office/drawing/2014/main" id="{E4FA3DD1-D3BF-BD79-2AEF-079BF90E93E6}"/>
              </a:ext>
            </a:extLst>
          </p:cNvPr>
          <p:cNvGrpSpPr>
            <a:grpSpLocks noChangeAspect="1"/>
          </p:cNvGrpSpPr>
          <p:nvPr/>
        </p:nvGrpSpPr>
        <p:grpSpPr>
          <a:xfrm>
            <a:off x="3433595" y="43229"/>
            <a:ext cx="407327" cy="636716"/>
            <a:chOff x="514352" y="3273426"/>
            <a:chExt cx="301625" cy="471487"/>
          </a:xfrm>
          <a:noFill/>
        </p:grpSpPr>
        <p:sp>
          <p:nvSpPr>
            <p:cNvPr id="92" name="Line 24">
              <a:extLst>
                <a:ext uri="{FF2B5EF4-FFF2-40B4-BE49-F238E27FC236}">
                  <a16:creationId xmlns:a16="http://schemas.microsoft.com/office/drawing/2014/main" id="{AB885DAC-25A8-AC65-DE91-FD7179260A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5315" y="3744913"/>
              <a:ext cx="139700" cy="0"/>
            </a:xfrm>
            <a:prstGeom prst="line">
              <a:avLst/>
            </a:prstGeom>
            <a:grpFill/>
            <a:ln w="38100">
              <a:solidFill>
                <a:srgbClr val="F05A40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93" name="Line 25">
              <a:extLst>
                <a:ext uri="{FF2B5EF4-FFF2-40B4-BE49-F238E27FC236}">
                  <a16:creationId xmlns:a16="http://schemas.microsoft.com/office/drawing/2014/main" id="{A16B2A72-A849-4BAA-B8D5-8DE7B92DA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5315" y="3700463"/>
              <a:ext cx="139700" cy="0"/>
            </a:xfrm>
            <a:prstGeom prst="line">
              <a:avLst/>
            </a:prstGeom>
            <a:grpFill/>
            <a:ln w="38100">
              <a:solidFill>
                <a:srgbClr val="F05A40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94" name="Freeform 26">
              <a:extLst>
                <a:ext uri="{FF2B5EF4-FFF2-40B4-BE49-F238E27FC236}">
                  <a16:creationId xmlns:a16="http://schemas.microsoft.com/office/drawing/2014/main" id="{0829A3B1-DFF0-9225-58B0-35A1B2B5A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52" y="3273426"/>
              <a:ext cx="301625" cy="382588"/>
            </a:xfrm>
            <a:custGeom>
              <a:avLst/>
              <a:gdLst>
                <a:gd name="T0" fmla="*/ 24 w 67"/>
                <a:gd name="T1" fmla="*/ 50 h 85"/>
                <a:gd name="T2" fmla="*/ 31 w 67"/>
                <a:gd name="T3" fmla="*/ 38 h 85"/>
                <a:gd name="T4" fmla="*/ 43 w 67"/>
                <a:gd name="T5" fmla="*/ 50 h 85"/>
                <a:gd name="T6" fmla="*/ 37 w 67"/>
                <a:gd name="T7" fmla="*/ 62 h 85"/>
                <a:gd name="T8" fmla="*/ 33 w 67"/>
                <a:gd name="T9" fmla="*/ 71 h 85"/>
                <a:gd name="T10" fmla="*/ 33 w 67"/>
                <a:gd name="T11" fmla="*/ 85 h 85"/>
                <a:gd name="T12" fmla="*/ 19 w 67"/>
                <a:gd name="T13" fmla="*/ 85 h 85"/>
                <a:gd name="T14" fmla="*/ 19 w 67"/>
                <a:gd name="T15" fmla="*/ 73 h 85"/>
                <a:gd name="T16" fmla="*/ 12 w 67"/>
                <a:gd name="T17" fmla="*/ 61 h 85"/>
                <a:gd name="T18" fmla="*/ 0 w 67"/>
                <a:gd name="T19" fmla="*/ 34 h 85"/>
                <a:gd name="T20" fmla="*/ 34 w 67"/>
                <a:gd name="T21" fmla="*/ 0 h 85"/>
                <a:gd name="T22" fmla="*/ 67 w 67"/>
                <a:gd name="T23" fmla="*/ 35 h 85"/>
                <a:gd name="T24" fmla="*/ 57 w 67"/>
                <a:gd name="T25" fmla="*/ 5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85">
                  <a:moveTo>
                    <a:pt x="24" y="50"/>
                  </a:moveTo>
                  <a:cubicBezTo>
                    <a:pt x="24" y="50"/>
                    <a:pt x="23" y="40"/>
                    <a:pt x="31" y="38"/>
                  </a:cubicBezTo>
                  <a:cubicBezTo>
                    <a:pt x="39" y="37"/>
                    <a:pt x="43" y="41"/>
                    <a:pt x="43" y="50"/>
                  </a:cubicBezTo>
                  <a:cubicBezTo>
                    <a:pt x="43" y="55"/>
                    <a:pt x="40" y="59"/>
                    <a:pt x="37" y="62"/>
                  </a:cubicBezTo>
                  <a:cubicBezTo>
                    <a:pt x="35" y="64"/>
                    <a:pt x="33" y="67"/>
                    <a:pt x="33" y="71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5"/>
                    <a:pt x="19" y="80"/>
                    <a:pt x="19" y="73"/>
                  </a:cubicBezTo>
                  <a:cubicBezTo>
                    <a:pt x="19" y="66"/>
                    <a:pt x="12" y="61"/>
                    <a:pt x="12" y="61"/>
                  </a:cubicBezTo>
                  <a:cubicBezTo>
                    <a:pt x="12" y="61"/>
                    <a:pt x="0" y="52"/>
                    <a:pt x="0" y="34"/>
                  </a:cubicBezTo>
                  <a:cubicBezTo>
                    <a:pt x="0" y="15"/>
                    <a:pt x="14" y="0"/>
                    <a:pt x="34" y="0"/>
                  </a:cubicBezTo>
                  <a:cubicBezTo>
                    <a:pt x="54" y="0"/>
                    <a:pt x="67" y="16"/>
                    <a:pt x="67" y="35"/>
                  </a:cubicBezTo>
                  <a:cubicBezTo>
                    <a:pt x="67" y="51"/>
                    <a:pt x="57" y="59"/>
                    <a:pt x="57" y="59"/>
                  </a:cubicBezTo>
                </a:path>
              </a:pathLst>
            </a:custGeom>
            <a:grpFill/>
            <a:ln w="38100">
              <a:solidFill>
                <a:srgbClr val="F05A40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endParaRPr>
            </a:p>
          </p:txBody>
        </p:sp>
      </p:grpSp>
      <p:graphicFrame>
        <p:nvGraphicFramePr>
          <p:cNvPr id="95" name="Table 21">
            <a:extLst>
              <a:ext uri="{FF2B5EF4-FFF2-40B4-BE49-F238E27FC236}">
                <a16:creationId xmlns:a16="http://schemas.microsoft.com/office/drawing/2014/main" id="{50E84B2D-EE24-F738-46AA-1F10DB36B4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5492510"/>
              </p:ext>
            </p:extLst>
          </p:nvPr>
        </p:nvGraphicFramePr>
        <p:xfrm>
          <a:off x="2979534" y="917641"/>
          <a:ext cx="2788546" cy="4998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88546">
                  <a:extLst>
                    <a:ext uri="{9D8B030D-6E8A-4147-A177-3AD203B41FA5}">
                      <a16:colId xmlns:a16="http://schemas.microsoft.com/office/drawing/2014/main" val="1593878834"/>
                    </a:ext>
                  </a:extLst>
                </a:gridCol>
              </a:tblGrid>
              <a:tr h="1920240">
                <a:tc>
                  <a:txBody>
                    <a:bodyPr/>
                    <a:lstStyle/>
                    <a:p>
                      <a:r>
                        <a:rPr lang="da-DK" sz="1000" b="1"/>
                        <a:t>Beskriv behovet for målgruppen/personalet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/>
                        <a:t>…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254869"/>
                  </a:ext>
                </a:extLst>
              </a:tr>
              <a:tr h="1310640">
                <a:tc>
                  <a:txBody>
                    <a:bodyPr/>
                    <a:lstStyle/>
                    <a:p>
                      <a:r>
                        <a:rPr lang="da-DK" sz="1000" b="1"/>
                        <a:t>Beskriv produktet, og hvordan det virker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/>
                        <a:t>…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0" b="1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883699"/>
                  </a:ext>
                </a:extLst>
              </a:tr>
              <a:tr h="1767840">
                <a:tc>
                  <a:txBody>
                    <a:bodyPr/>
                    <a:lstStyle/>
                    <a:p>
                      <a:r>
                        <a:rPr lang="da-DK" sz="1000" b="1"/>
                        <a:t>Beskriv konkurrentlandskab og hvad der gør løsningen unik (fx teknologisk, økonomisk og/eller funktionelt):</a:t>
                      </a:r>
                    </a:p>
                    <a:p>
                      <a:r>
                        <a:rPr lang="da-DK" sz="1000" b="0"/>
                        <a:t>…</a:t>
                      </a:r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633529"/>
                  </a:ext>
                </a:extLst>
              </a:tr>
            </a:tbl>
          </a:graphicData>
        </a:graphic>
      </p:graphicFrame>
      <p:graphicFrame>
        <p:nvGraphicFramePr>
          <p:cNvPr id="97" name="Table 21">
            <a:extLst>
              <a:ext uri="{FF2B5EF4-FFF2-40B4-BE49-F238E27FC236}">
                <a16:creationId xmlns:a16="http://schemas.microsoft.com/office/drawing/2014/main" id="{07856508-A543-5CA1-E7EF-7BC0EE2212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093350"/>
              </p:ext>
            </p:extLst>
          </p:nvPr>
        </p:nvGraphicFramePr>
        <p:xfrm>
          <a:off x="5960799" y="879371"/>
          <a:ext cx="2788546" cy="50521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88546">
                  <a:extLst>
                    <a:ext uri="{9D8B030D-6E8A-4147-A177-3AD203B41FA5}">
                      <a16:colId xmlns:a16="http://schemas.microsoft.com/office/drawing/2014/main" val="875889426"/>
                    </a:ext>
                  </a:extLst>
                </a:gridCol>
              </a:tblGrid>
              <a:tr h="243840">
                <a:tc>
                  <a:txBody>
                    <a:bodyPr/>
                    <a:lstStyle/>
                    <a:p>
                      <a:r>
                        <a:rPr lang="da-DK" sz="1000" b="1" i="1"/>
                        <a:t>Ideer og ønsker til et samarbejde og testforløb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254869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marL="0" marR="0" lvl="0" indent="0" algn="l" defTabSz="18288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/>
                        <a:t>Institutioner/afdelinger:</a:t>
                      </a:r>
                    </a:p>
                    <a:p>
                      <a:r>
                        <a:rPr lang="da-DK" sz="1000" b="0"/>
                        <a:t>…</a:t>
                      </a:r>
                      <a:endParaRPr lang="da-DK" sz="100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883699"/>
                  </a:ext>
                </a:extLst>
              </a:tr>
              <a:tr h="1310640">
                <a:tc>
                  <a:txBody>
                    <a:bodyPr/>
                    <a:lstStyle/>
                    <a:p>
                      <a:pPr marL="0" marR="0" lvl="0" indent="0" algn="l" defTabSz="18288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/>
                        <a:t>Patientmålgruppe:</a:t>
                      </a:r>
                    </a:p>
                    <a:p>
                      <a:r>
                        <a:rPr lang="da-DK" sz="1000" b="0"/>
                        <a:t>…</a:t>
                      </a:r>
                      <a:endParaRPr lang="da-DK" sz="1000"/>
                    </a:p>
                    <a:p>
                      <a:endParaRPr lang="da-DK" sz="1000" b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633529"/>
                  </a:ext>
                </a:extLst>
              </a:tr>
              <a:tr h="2339446">
                <a:tc>
                  <a:txBody>
                    <a:bodyPr/>
                    <a:lstStyle/>
                    <a:p>
                      <a:r>
                        <a:rPr lang="da-DK" sz="1000" b="1"/>
                        <a:t>Beskriv udviklingsmål for samarbejdet: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i="1"/>
                        <a:t>…</a:t>
                      </a:r>
                      <a:endParaRPr lang="da-DK" sz="1000" b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0386917"/>
                  </a:ext>
                </a:extLst>
              </a:tr>
            </a:tbl>
          </a:graphicData>
        </a:graphic>
      </p:graphicFrame>
      <p:grpSp>
        <p:nvGrpSpPr>
          <p:cNvPr id="105" name="Google Shape;124;p1">
            <a:extLst>
              <a:ext uri="{FF2B5EF4-FFF2-40B4-BE49-F238E27FC236}">
                <a16:creationId xmlns:a16="http://schemas.microsoft.com/office/drawing/2014/main" id="{6D3BD7E9-8808-A6DC-A4F6-E66BC4BF6051}"/>
              </a:ext>
            </a:extLst>
          </p:cNvPr>
          <p:cNvGrpSpPr/>
          <p:nvPr/>
        </p:nvGrpSpPr>
        <p:grpSpPr>
          <a:xfrm>
            <a:off x="6238995" y="69286"/>
            <a:ext cx="857060" cy="604057"/>
            <a:chOff x="9067846" y="3523138"/>
            <a:chExt cx="576811" cy="439151"/>
          </a:xfrm>
        </p:grpSpPr>
        <p:grpSp>
          <p:nvGrpSpPr>
            <p:cNvPr id="106" name="Google Shape;125;p1">
              <a:extLst>
                <a:ext uri="{FF2B5EF4-FFF2-40B4-BE49-F238E27FC236}">
                  <a16:creationId xmlns:a16="http://schemas.microsoft.com/office/drawing/2014/main" id="{841F6C93-567D-4938-1B52-6FD768B15517}"/>
                </a:ext>
              </a:extLst>
            </p:cNvPr>
            <p:cNvGrpSpPr/>
            <p:nvPr/>
          </p:nvGrpSpPr>
          <p:grpSpPr>
            <a:xfrm>
              <a:off x="9322148" y="3591571"/>
              <a:ext cx="58292" cy="58349"/>
              <a:chOff x="9322148" y="3591571"/>
              <a:chExt cx="58292" cy="58349"/>
            </a:xfrm>
          </p:grpSpPr>
          <p:sp>
            <p:nvSpPr>
              <p:cNvPr id="117" name="Google Shape;126;p1">
                <a:extLst>
                  <a:ext uri="{FF2B5EF4-FFF2-40B4-BE49-F238E27FC236}">
                    <a16:creationId xmlns:a16="http://schemas.microsoft.com/office/drawing/2014/main" id="{339E204B-78DD-1F8A-4C1E-79EA6FF92537}"/>
                  </a:ext>
                </a:extLst>
              </p:cNvPr>
              <p:cNvSpPr/>
              <p:nvPr/>
            </p:nvSpPr>
            <p:spPr>
              <a:xfrm>
                <a:off x="9351266" y="3591571"/>
                <a:ext cx="5665" cy="58349"/>
              </a:xfrm>
              <a:custGeom>
                <a:avLst/>
                <a:gdLst/>
                <a:ahLst/>
                <a:cxnLst/>
                <a:rect l="l" t="t" r="r" b="b"/>
                <a:pathLst>
                  <a:path w="5665" h="58349" extrusionOk="0">
                    <a:moveTo>
                      <a:pt x="0" y="0"/>
                    </a:moveTo>
                    <a:lnTo>
                      <a:pt x="0" y="58350"/>
                    </a:lnTo>
                  </a:path>
                </a:pathLst>
              </a:custGeom>
              <a:noFill/>
              <a:ln w="38100" cap="rnd" cmpd="sng">
                <a:solidFill>
                  <a:srgbClr val="F05A4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5000"/>
                  <a:buFontTx/>
                  <a:buNone/>
                  <a:tabLst/>
                  <a:defRPr/>
                </a:pPr>
                <a:endParaRPr kumimoji="0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" name="Google Shape;127;p1">
                <a:extLst>
                  <a:ext uri="{FF2B5EF4-FFF2-40B4-BE49-F238E27FC236}">
                    <a16:creationId xmlns:a16="http://schemas.microsoft.com/office/drawing/2014/main" id="{7D821FFD-A08A-959E-385D-1D84D254469E}"/>
                  </a:ext>
                </a:extLst>
              </p:cNvPr>
              <p:cNvSpPr/>
              <p:nvPr/>
            </p:nvSpPr>
            <p:spPr>
              <a:xfrm>
                <a:off x="9322148" y="3620746"/>
                <a:ext cx="58292" cy="5665"/>
              </a:xfrm>
              <a:custGeom>
                <a:avLst/>
                <a:gdLst/>
                <a:ahLst/>
                <a:cxnLst/>
                <a:rect l="l" t="t" r="r" b="b"/>
                <a:pathLst>
                  <a:path w="58292" h="5665" extrusionOk="0">
                    <a:moveTo>
                      <a:pt x="58293" y="0"/>
                    </a:moveTo>
                    <a:lnTo>
                      <a:pt x="0" y="0"/>
                    </a:lnTo>
                  </a:path>
                </a:pathLst>
              </a:custGeom>
              <a:noFill/>
              <a:ln w="38100" cap="rnd" cmpd="sng">
                <a:solidFill>
                  <a:srgbClr val="F05A4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5000"/>
                  <a:buFontTx/>
                  <a:buNone/>
                  <a:tabLst/>
                  <a:defRPr/>
                </a:pPr>
                <a:endParaRPr kumimoji="0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07" name="Google Shape;128;p1">
              <a:extLst>
                <a:ext uri="{FF2B5EF4-FFF2-40B4-BE49-F238E27FC236}">
                  <a16:creationId xmlns:a16="http://schemas.microsoft.com/office/drawing/2014/main" id="{1CC08959-0013-3B1D-C8A2-97119813B039}"/>
                </a:ext>
              </a:extLst>
            </p:cNvPr>
            <p:cNvSpPr/>
            <p:nvPr/>
          </p:nvSpPr>
          <p:spPr>
            <a:xfrm>
              <a:off x="9248730" y="3523138"/>
              <a:ext cx="215043" cy="439151"/>
            </a:xfrm>
            <a:custGeom>
              <a:avLst/>
              <a:gdLst/>
              <a:ahLst/>
              <a:cxnLst/>
              <a:rect l="l" t="t" r="r" b="b"/>
              <a:pathLst>
                <a:path w="215043" h="439151" extrusionOk="0">
                  <a:moveTo>
                    <a:pt x="0" y="439152"/>
                  </a:moveTo>
                  <a:lnTo>
                    <a:pt x="0" y="0"/>
                  </a:lnTo>
                  <a:lnTo>
                    <a:pt x="215044" y="0"/>
                  </a:lnTo>
                  <a:lnTo>
                    <a:pt x="215044" y="439152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129;p1">
              <a:extLst>
                <a:ext uri="{FF2B5EF4-FFF2-40B4-BE49-F238E27FC236}">
                  <a16:creationId xmlns:a16="http://schemas.microsoft.com/office/drawing/2014/main" id="{0500B050-3F78-2C69-DCDA-7079F3CAB4D4}"/>
                </a:ext>
              </a:extLst>
            </p:cNvPr>
            <p:cNvSpPr/>
            <p:nvPr/>
          </p:nvSpPr>
          <p:spPr>
            <a:xfrm>
              <a:off x="9067846" y="3649694"/>
              <a:ext cx="180884" cy="312595"/>
            </a:xfrm>
            <a:custGeom>
              <a:avLst/>
              <a:gdLst/>
              <a:ahLst/>
              <a:cxnLst/>
              <a:rect l="l" t="t" r="r" b="b"/>
              <a:pathLst>
                <a:path w="180884" h="312595" extrusionOk="0">
                  <a:moveTo>
                    <a:pt x="0" y="312595"/>
                  </a:moveTo>
                  <a:lnTo>
                    <a:pt x="0" y="0"/>
                  </a:lnTo>
                  <a:lnTo>
                    <a:pt x="180884" y="0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" name="Google Shape;130;p1">
              <a:extLst>
                <a:ext uri="{FF2B5EF4-FFF2-40B4-BE49-F238E27FC236}">
                  <a16:creationId xmlns:a16="http://schemas.microsoft.com/office/drawing/2014/main" id="{46069F28-1FFC-8300-5F03-ADAFF9871463}"/>
                </a:ext>
              </a:extLst>
            </p:cNvPr>
            <p:cNvSpPr/>
            <p:nvPr/>
          </p:nvSpPr>
          <p:spPr>
            <a:xfrm>
              <a:off x="9463773" y="3649694"/>
              <a:ext cx="180884" cy="312595"/>
            </a:xfrm>
            <a:custGeom>
              <a:avLst/>
              <a:gdLst/>
              <a:ahLst/>
              <a:cxnLst/>
              <a:rect l="l" t="t" r="r" b="b"/>
              <a:pathLst>
                <a:path w="180884" h="312595" extrusionOk="0">
                  <a:moveTo>
                    <a:pt x="0" y="0"/>
                  </a:moveTo>
                  <a:lnTo>
                    <a:pt x="180884" y="0"/>
                  </a:lnTo>
                  <a:lnTo>
                    <a:pt x="180884" y="312595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" name="Google Shape;131;p1">
              <a:extLst>
                <a:ext uri="{FF2B5EF4-FFF2-40B4-BE49-F238E27FC236}">
                  <a16:creationId xmlns:a16="http://schemas.microsoft.com/office/drawing/2014/main" id="{51671597-6B4C-4488-F12F-89161F7F7277}"/>
                </a:ext>
              </a:extLst>
            </p:cNvPr>
            <p:cNvSpPr/>
            <p:nvPr/>
          </p:nvSpPr>
          <p:spPr>
            <a:xfrm>
              <a:off x="9311838" y="3813243"/>
              <a:ext cx="84748" cy="149046"/>
            </a:xfrm>
            <a:custGeom>
              <a:avLst/>
              <a:gdLst/>
              <a:ahLst/>
              <a:cxnLst/>
              <a:rect l="l" t="t" r="r" b="b"/>
              <a:pathLst>
                <a:path w="84748" h="149046" extrusionOk="0">
                  <a:moveTo>
                    <a:pt x="84748" y="149046"/>
                  </a:moveTo>
                  <a:lnTo>
                    <a:pt x="84748" y="42374"/>
                  </a:lnTo>
                  <a:cubicBezTo>
                    <a:pt x="84748" y="18978"/>
                    <a:pt x="65771" y="0"/>
                    <a:pt x="42374" y="0"/>
                  </a:cubicBezTo>
                  <a:lnTo>
                    <a:pt x="42374" y="0"/>
                  </a:lnTo>
                  <a:cubicBezTo>
                    <a:pt x="18978" y="0"/>
                    <a:pt x="0" y="18978"/>
                    <a:pt x="0" y="42374"/>
                  </a:cubicBezTo>
                  <a:lnTo>
                    <a:pt x="0" y="148990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132;p1">
              <a:extLst>
                <a:ext uri="{FF2B5EF4-FFF2-40B4-BE49-F238E27FC236}">
                  <a16:creationId xmlns:a16="http://schemas.microsoft.com/office/drawing/2014/main" id="{9094C0EC-B289-B746-A48B-70C9CB8F7B85}"/>
                </a:ext>
              </a:extLst>
            </p:cNvPr>
            <p:cNvSpPr/>
            <p:nvPr/>
          </p:nvSpPr>
          <p:spPr>
            <a:xfrm>
              <a:off x="9131294" y="3687649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5" y="0"/>
                  </a:lnTo>
                  <a:lnTo>
                    <a:pt x="54045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Google Shape;133;p1">
              <a:extLst>
                <a:ext uri="{FF2B5EF4-FFF2-40B4-BE49-F238E27FC236}">
                  <a16:creationId xmlns:a16="http://schemas.microsoft.com/office/drawing/2014/main" id="{EAAA4BFA-5CDE-A5CC-5FF8-892E6AA93D7A}"/>
                </a:ext>
              </a:extLst>
            </p:cNvPr>
            <p:cNvSpPr/>
            <p:nvPr/>
          </p:nvSpPr>
          <p:spPr>
            <a:xfrm>
              <a:off x="9131294" y="3778969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5" y="0"/>
                  </a:lnTo>
                  <a:lnTo>
                    <a:pt x="54045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" name="Google Shape;134;p1">
              <a:extLst>
                <a:ext uri="{FF2B5EF4-FFF2-40B4-BE49-F238E27FC236}">
                  <a16:creationId xmlns:a16="http://schemas.microsoft.com/office/drawing/2014/main" id="{21F37F2D-FEB8-98AF-B1BA-BB5F49C9736E}"/>
                </a:ext>
              </a:extLst>
            </p:cNvPr>
            <p:cNvSpPr/>
            <p:nvPr/>
          </p:nvSpPr>
          <p:spPr>
            <a:xfrm>
              <a:off x="9131294" y="3870346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5" y="0"/>
                  </a:lnTo>
                  <a:lnTo>
                    <a:pt x="54045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Google Shape;135;p1">
              <a:extLst>
                <a:ext uri="{FF2B5EF4-FFF2-40B4-BE49-F238E27FC236}">
                  <a16:creationId xmlns:a16="http://schemas.microsoft.com/office/drawing/2014/main" id="{5F989E63-30B4-BC3F-0B96-DEFCAA14C925}"/>
                </a:ext>
              </a:extLst>
            </p:cNvPr>
            <p:cNvSpPr/>
            <p:nvPr/>
          </p:nvSpPr>
          <p:spPr>
            <a:xfrm>
              <a:off x="9527222" y="3687649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4" y="0"/>
                  </a:lnTo>
                  <a:lnTo>
                    <a:pt x="54044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" name="Google Shape;136;p1">
              <a:extLst>
                <a:ext uri="{FF2B5EF4-FFF2-40B4-BE49-F238E27FC236}">
                  <a16:creationId xmlns:a16="http://schemas.microsoft.com/office/drawing/2014/main" id="{F63A02C2-1654-773F-8C9C-66F00A94349E}"/>
                </a:ext>
              </a:extLst>
            </p:cNvPr>
            <p:cNvSpPr/>
            <p:nvPr/>
          </p:nvSpPr>
          <p:spPr>
            <a:xfrm>
              <a:off x="9527222" y="3778969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4" y="0"/>
                  </a:lnTo>
                  <a:lnTo>
                    <a:pt x="54044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" name="Google Shape;137;p1">
              <a:extLst>
                <a:ext uri="{FF2B5EF4-FFF2-40B4-BE49-F238E27FC236}">
                  <a16:creationId xmlns:a16="http://schemas.microsoft.com/office/drawing/2014/main" id="{18A0DF8E-6537-89CC-9A69-E037627A7043}"/>
                </a:ext>
              </a:extLst>
            </p:cNvPr>
            <p:cNvSpPr/>
            <p:nvPr/>
          </p:nvSpPr>
          <p:spPr>
            <a:xfrm>
              <a:off x="9527222" y="3870346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4" y="0"/>
                  </a:lnTo>
                  <a:lnTo>
                    <a:pt x="54044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9" name="Google Shape;145;p1">
            <a:extLst>
              <a:ext uri="{FF2B5EF4-FFF2-40B4-BE49-F238E27FC236}">
                <a16:creationId xmlns:a16="http://schemas.microsoft.com/office/drawing/2014/main" id="{E5CBD1F8-E5F7-F3D4-9575-85E3066F265A}"/>
              </a:ext>
            </a:extLst>
          </p:cNvPr>
          <p:cNvGrpSpPr/>
          <p:nvPr/>
        </p:nvGrpSpPr>
        <p:grpSpPr>
          <a:xfrm>
            <a:off x="9368214" y="69286"/>
            <a:ext cx="629936" cy="644822"/>
            <a:chOff x="487364" y="1441450"/>
            <a:chExt cx="422275" cy="454025"/>
          </a:xfrm>
        </p:grpSpPr>
        <p:cxnSp>
          <p:nvCxnSpPr>
            <p:cNvPr id="120" name="Google Shape;146;p1">
              <a:extLst>
                <a:ext uri="{FF2B5EF4-FFF2-40B4-BE49-F238E27FC236}">
                  <a16:creationId xmlns:a16="http://schemas.microsoft.com/office/drawing/2014/main" id="{8FA3A924-BB17-9B0D-3536-036C7A38A307}"/>
                </a:ext>
              </a:extLst>
            </p:cNvPr>
            <p:cNvCxnSpPr/>
            <p:nvPr/>
          </p:nvCxnSpPr>
          <p:spPr>
            <a:xfrm rot="10800000">
              <a:off x="681039" y="1670050"/>
              <a:ext cx="228600" cy="0"/>
            </a:xfrm>
            <a:prstGeom prst="straightConnector1">
              <a:avLst/>
            </a:prstGeom>
            <a:noFill/>
            <a:ln w="28575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121" name="Google Shape;147;p1">
              <a:extLst>
                <a:ext uri="{FF2B5EF4-FFF2-40B4-BE49-F238E27FC236}">
                  <a16:creationId xmlns:a16="http://schemas.microsoft.com/office/drawing/2014/main" id="{097F9083-7A0C-1AAC-963D-A15EE3131843}"/>
                </a:ext>
              </a:extLst>
            </p:cNvPr>
            <p:cNvSpPr/>
            <p:nvPr/>
          </p:nvSpPr>
          <p:spPr>
            <a:xfrm>
              <a:off x="617539" y="1593850"/>
              <a:ext cx="73025" cy="149225"/>
            </a:xfrm>
            <a:custGeom>
              <a:avLst/>
              <a:gdLst/>
              <a:ahLst/>
              <a:cxnLst/>
              <a:rect l="l" t="t" r="r" b="b"/>
              <a:pathLst>
                <a:path w="46" h="94" extrusionOk="0">
                  <a:moveTo>
                    <a:pt x="46" y="94"/>
                  </a:moveTo>
                  <a:lnTo>
                    <a:pt x="0" y="48"/>
                  </a:lnTo>
                  <a:lnTo>
                    <a:pt x="46" y="0"/>
                  </a:lnTo>
                </a:path>
              </a:pathLst>
            </a:custGeom>
            <a:noFill/>
            <a:ln w="28575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" name="Google Shape;148;p1">
              <a:extLst>
                <a:ext uri="{FF2B5EF4-FFF2-40B4-BE49-F238E27FC236}">
                  <a16:creationId xmlns:a16="http://schemas.microsoft.com/office/drawing/2014/main" id="{B22968D4-3595-EA70-A3E3-649F6911DD03}"/>
                </a:ext>
              </a:extLst>
            </p:cNvPr>
            <p:cNvSpPr/>
            <p:nvPr/>
          </p:nvSpPr>
          <p:spPr>
            <a:xfrm>
              <a:off x="487364" y="1441450"/>
              <a:ext cx="287338" cy="454025"/>
            </a:xfrm>
            <a:custGeom>
              <a:avLst/>
              <a:gdLst/>
              <a:ahLst/>
              <a:cxnLst/>
              <a:rect l="l" t="t" r="r" b="b"/>
              <a:pathLst>
                <a:path w="181" h="286" extrusionOk="0">
                  <a:moveTo>
                    <a:pt x="181" y="102"/>
                  </a:moveTo>
                  <a:lnTo>
                    <a:pt x="181" y="0"/>
                  </a:lnTo>
                  <a:lnTo>
                    <a:pt x="0" y="0"/>
                  </a:lnTo>
                  <a:lnTo>
                    <a:pt x="0" y="286"/>
                  </a:lnTo>
                  <a:lnTo>
                    <a:pt x="181" y="286"/>
                  </a:lnTo>
                  <a:lnTo>
                    <a:pt x="181" y="184"/>
                  </a:lnTo>
                </a:path>
              </a:pathLst>
            </a:custGeom>
            <a:noFill/>
            <a:ln w="28575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23" name="Rectangle 2">
            <a:extLst>
              <a:ext uri="{FF2B5EF4-FFF2-40B4-BE49-F238E27FC236}">
                <a16:creationId xmlns:a16="http://schemas.microsoft.com/office/drawing/2014/main" id="{FFCEF3C1-477A-5D72-DA3A-8DCBAE756E84}"/>
              </a:ext>
            </a:extLst>
          </p:cNvPr>
          <p:cNvSpPr/>
          <p:nvPr/>
        </p:nvSpPr>
        <p:spPr>
          <a:xfrm>
            <a:off x="8959840" y="4293418"/>
            <a:ext cx="2984380" cy="1623528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t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Evidens:</a:t>
            </a: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Helvetica Neue"/>
              </a:rPr>
              <a:t>…</a:t>
            </a:r>
            <a:b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Helvetica Neue"/>
              </a:rPr>
            </a:b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Helvetica Neue"/>
              </a:rPr>
              <a:t>Økonomisk: </a:t>
            </a: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Helvetica Neue"/>
              </a:rPr>
              <a:t>…</a:t>
            </a: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</p:txBody>
      </p:sp>
      <p:pic>
        <p:nvPicPr>
          <p:cNvPr id="124" name="Billede 123">
            <a:extLst>
              <a:ext uri="{FF2B5EF4-FFF2-40B4-BE49-F238E27FC236}">
                <a16:creationId xmlns:a16="http://schemas.microsoft.com/office/drawing/2014/main" id="{41478A04-D967-FC44-9775-71D2DA3481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247" y="6196825"/>
            <a:ext cx="5644997" cy="608444"/>
          </a:xfrm>
          <a:prstGeom prst="rect">
            <a:avLst/>
          </a:prstGeom>
        </p:spPr>
      </p:pic>
      <p:grpSp>
        <p:nvGrpSpPr>
          <p:cNvPr id="98" name="Google Shape;138;p1">
            <a:extLst>
              <a:ext uri="{FF2B5EF4-FFF2-40B4-BE49-F238E27FC236}">
                <a16:creationId xmlns:a16="http://schemas.microsoft.com/office/drawing/2014/main" id="{56785131-A3B6-F1D5-4F6B-861DAAFECACF}"/>
              </a:ext>
            </a:extLst>
          </p:cNvPr>
          <p:cNvGrpSpPr/>
          <p:nvPr/>
        </p:nvGrpSpPr>
        <p:grpSpPr>
          <a:xfrm>
            <a:off x="9197735" y="3549167"/>
            <a:ext cx="645434" cy="685704"/>
            <a:chOff x="1493842" y="3138993"/>
            <a:chExt cx="566738" cy="563563"/>
          </a:xfrm>
        </p:grpSpPr>
        <p:sp>
          <p:nvSpPr>
            <p:cNvPr id="99" name="Google Shape;139;p1">
              <a:extLst>
                <a:ext uri="{FF2B5EF4-FFF2-40B4-BE49-F238E27FC236}">
                  <a16:creationId xmlns:a16="http://schemas.microsoft.com/office/drawing/2014/main" id="{DB4C69B3-CF53-38C7-E097-C6AADA27216E}"/>
                </a:ext>
              </a:extLst>
            </p:cNvPr>
            <p:cNvSpPr/>
            <p:nvPr/>
          </p:nvSpPr>
          <p:spPr>
            <a:xfrm>
              <a:off x="1898654" y="3138993"/>
              <a:ext cx="90488" cy="149225"/>
            </a:xfrm>
            <a:custGeom>
              <a:avLst/>
              <a:gdLst/>
              <a:ahLst/>
              <a:cxnLst/>
              <a:rect l="l" t="t" r="r" b="b"/>
              <a:pathLst>
                <a:path w="57" h="94" extrusionOk="0">
                  <a:moveTo>
                    <a:pt x="9" y="94"/>
                  </a:moveTo>
                  <a:lnTo>
                    <a:pt x="0" y="49"/>
                  </a:lnTo>
                  <a:lnTo>
                    <a:pt x="48" y="0"/>
                  </a:lnTo>
                  <a:lnTo>
                    <a:pt x="57" y="46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40;p1">
              <a:extLst>
                <a:ext uri="{FF2B5EF4-FFF2-40B4-BE49-F238E27FC236}">
                  <a16:creationId xmlns:a16="http://schemas.microsoft.com/office/drawing/2014/main" id="{F0F73EEF-1575-45B2-A231-EE80D7A5B36C}"/>
                </a:ext>
              </a:extLst>
            </p:cNvPr>
            <p:cNvSpPr/>
            <p:nvPr/>
          </p:nvSpPr>
          <p:spPr>
            <a:xfrm>
              <a:off x="1912942" y="3212018"/>
              <a:ext cx="147638" cy="90488"/>
            </a:xfrm>
            <a:custGeom>
              <a:avLst/>
              <a:gdLst/>
              <a:ahLst/>
              <a:cxnLst/>
              <a:rect l="l" t="t" r="r" b="b"/>
              <a:pathLst>
                <a:path w="93" h="57" extrusionOk="0">
                  <a:moveTo>
                    <a:pt x="48" y="0"/>
                  </a:moveTo>
                  <a:lnTo>
                    <a:pt x="93" y="8"/>
                  </a:lnTo>
                  <a:lnTo>
                    <a:pt x="45" y="57"/>
                  </a:lnTo>
                  <a:lnTo>
                    <a:pt x="0" y="48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1" name="Google Shape;141;p1">
              <a:extLst>
                <a:ext uri="{FF2B5EF4-FFF2-40B4-BE49-F238E27FC236}">
                  <a16:creationId xmlns:a16="http://schemas.microsoft.com/office/drawing/2014/main" id="{BD051857-5E87-8EAC-0F47-5653A3DF40F3}"/>
                </a:ext>
              </a:extLst>
            </p:cNvPr>
            <p:cNvCxnSpPr/>
            <p:nvPr/>
          </p:nvCxnSpPr>
          <p:spPr>
            <a:xfrm rot="10800000" flipH="1">
              <a:off x="1709742" y="3212018"/>
              <a:ext cx="279400" cy="274638"/>
            </a:xfrm>
            <a:prstGeom prst="straightConnector1">
              <a:avLst/>
            </a:pr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102" name="Google Shape;142;p1">
              <a:extLst>
                <a:ext uri="{FF2B5EF4-FFF2-40B4-BE49-F238E27FC236}">
                  <a16:creationId xmlns:a16="http://schemas.microsoft.com/office/drawing/2014/main" id="{F9075987-B004-24BC-AFAD-BD450ED14173}"/>
                </a:ext>
              </a:extLst>
            </p:cNvPr>
            <p:cNvSpPr/>
            <p:nvPr/>
          </p:nvSpPr>
          <p:spPr>
            <a:xfrm>
              <a:off x="1493842" y="3265993"/>
              <a:ext cx="441325" cy="436563"/>
            </a:xfrm>
            <a:custGeom>
              <a:avLst/>
              <a:gdLst/>
              <a:ahLst/>
              <a:cxnLst/>
              <a:rect l="l" t="t" r="r" b="b"/>
              <a:pathLst>
                <a:path w="98" h="97" extrusionOk="0">
                  <a:moveTo>
                    <a:pt x="88" y="20"/>
                  </a:moveTo>
                  <a:cubicBezTo>
                    <a:pt x="94" y="28"/>
                    <a:pt x="98" y="38"/>
                    <a:pt x="98" y="49"/>
                  </a:cubicBezTo>
                  <a:cubicBezTo>
                    <a:pt x="98" y="76"/>
                    <a:pt x="76" y="97"/>
                    <a:pt x="49" y="97"/>
                  </a:cubicBezTo>
                  <a:cubicBezTo>
                    <a:pt x="22" y="97"/>
                    <a:pt x="0" y="76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59" y="0"/>
                    <a:pt x="69" y="3"/>
                    <a:pt x="76" y="8"/>
                  </a:cubicBez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" name="Google Shape;143;p1">
              <a:extLst>
                <a:ext uri="{FF2B5EF4-FFF2-40B4-BE49-F238E27FC236}">
                  <a16:creationId xmlns:a16="http://schemas.microsoft.com/office/drawing/2014/main" id="{C35430CC-638C-BFD4-F625-84D19CD9BFDB}"/>
                </a:ext>
              </a:extLst>
            </p:cNvPr>
            <p:cNvSpPr/>
            <p:nvPr/>
          </p:nvSpPr>
          <p:spPr>
            <a:xfrm>
              <a:off x="1570042" y="3342193"/>
              <a:ext cx="288925" cy="288925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0" y="16"/>
                  </a:moveTo>
                  <a:cubicBezTo>
                    <a:pt x="63" y="21"/>
                    <a:pt x="64" y="26"/>
                    <a:pt x="64" y="32"/>
                  </a:cubicBezTo>
                  <a:cubicBezTo>
                    <a:pt x="64" y="49"/>
                    <a:pt x="50" y="64"/>
                    <a:pt x="32" y="64"/>
                  </a:cubicBezTo>
                  <a:cubicBezTo>
                    <a:pt x="14" y="64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37" y="0"/>
                    <a:pt x="41" y="1"/>
                    <a:pt x="46" y="3"/>
                  </a:cubicBez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" name="Google Shape;144;p1">
              <a:extLst>
                <a:ext uri="{FF2B5EF4-FFF2-40B4-BE49-F238E27FC236}">
                  <a16:creationId xmlns:a16="http://schemas.microsoft.com/office/drawing/2014/main" id="{75A56494-114D-E03A-E87A-6D835359D5E5}"/>
                </a:ext>
              </a:extLst>
            </p:cNvPr>
            <p:cNvSpPr/>
            <p:nvPr/>
          </p:nvSpPr>
          <p:spPr>
            <a:xfrm>
              <a:off x="1643067" y="3410455"/>
              <a:ext cx="142875" cy="14763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19" y="1"/>
                  </a:moveTo>
                  <a:cubicBezTo>
                    <a:pt x="18" y="0"/>
                    <a:pt x="17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6"/>
                    <a:pt x="7" y="33"/>
                    <a:pt x="16" y="33"/>
                  </a:cubicBezTo>
                  <a:cubicBezTo>
                    <a:pt x="25" y="33"/>
                    <a:pt x="32" y="26"/>
                    <a:pt x="32" y="17"/>
                  </a:cubicBezTo>
                  <a:cubicBezTo>
                    <a:pt x="32" y="15"/>
                    <a:pt x="32" y="13"/>
                    <a:pt x="32" y="12"/>
                  </a:cubicBez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88CD6AA-4F90-5213-F0D8-266641D64FB9}"/>
              </a:ext>
            </a:extLst>
          </p:cNvPr>
          <p:cNvSpPr/>
          <p:nvPr/>
        </p:nvSpPr>
        <p:spPr>
          <a:xfrm>
            <a:off x="8954659" y="2146388"/>
            <a:ext cx="2975306" cy="124216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t">
            <a:no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Tidsramme:</a:t>
            </a: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…</a:t>
            </a: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582127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2">
            <a:extLst>
              <a:ext uri="{FF2B5EF4-FFF2-40B4-BE49-F238E27FC236}">
                <a16:creationId xmlns:a16="http://schemas.microsoft.com/office/drawing/2014/main" id="{C7FCAE56-68AC-9EC2-A363-CD35E64998FE}"/>
              </a:ext>
            </a:extLst>
          </p:cNvPr>
          <p:cNvSpPr/>
          <p:nvPr/>
        </p:nvSpPr>
        <p:spPr>
          <a:xfrm>
            <a:off x="8954659" y="865892"/>
            <a:ext cx="2975306" cy="1242159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t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Finansieringsforslag:</a:t>
            </a:r>
            <a:endParaRPr kumimoji="0" lang="da-DK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Helvetica Neue"/>
              </a:rPr>
              <a:t>Kunden indkøber .. produkter til at erstatte de nuværende procedure ifm. observation af patienter efter brugen af ... </a:t>
            </a: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I testforløbet er der delvis medfinansiering fra …. </a:t>
            </a: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</p:txBody>
      </p:sp>
      <p:sp>
        <p:nvSpPr>
          <p:cNvPr id="85" name="Rectangle 4">
            <a:extLst>
              <a:ext uri="{FF2B5EF4-FFF2-40B4-BE49-F238E27FC236}">
                <a16:creationId xmlns:a16="http://schemas.microsoft.com/office/drawing/2014/main" id="{C480F921-EA1E-74F4-A7D5-2E9B8BF7F95E}"/>
              </a:ext>
            </a:extLst>
          </p:cNvPr>
          <p:cNvSpPr/>
          <p:nvPr/>
        </p:nvSpPr>
        <p:spPr>
          <a:xfrm>
            <a:off x="2969143" y="252707"/>
            <a:ext cx="2796100" cy="631556"/>
          </a:xfrm>
          <a:prstGeom prst="rect">
            <a:avLst/>
          </a:prstGeom>
          <a:solidFill>
            <a:srgbClr val="21364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584000" tIns="71437" rIns="71437" bIns="71437" numCol="1" spcCol="38100" rtlCol="0" anchor="ctr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B</a:t>
            </a: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EHOV OG LØSNING</a:t>
            </a:r>
          </a:p>
        </p:txBody>
      </p:sp>
      <p:sp>
        <p:nvSpPr>
          <p:cNvPr id="86" name="Rectangle 5">
            <a:extLst>
              <a:ext uri="{FF2B5EF4-FFF2-40B4-BE49-F238E27FC236}">
                <a16:creationId xmlns:a16="http://schemas.microsoft.com/office/drawing/2014/main" id="{B24EFFA4-EA3C-B0D5-C8B3-5C5BA30340D3}"/>
              </a:ext>
            </a:extLst>
          </p:cNvPr>
          <p:cNvSpPr/>
          <p:nvPr/>
        </p:nvSpPr>
        <p:spPr>
          <a:xfrm>
            <a:off x="8936105" y="227258"/>
            <a:ext cx="2984380" cy="640590"/>
          </a:xfrm>
          <a:prstGeom prst="rect">
            <a:avLst/>
          </a:prstGeom>
          <a:solidFill>
            <a:srgbClr val="21364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584000" tIns="71437" rIns="71437" bIns="71437" numCol="1" spcCol="38100" rtlCol="0" anchor="ctr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SETUP</a:t>
            </a:r>
            <a:endParaRPr kumimoji="0" lang="da-DK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</p:txBody>
      </p:sp>
      <p:sp>
        <p:nvSpPr>
          <p:cNvPr id="87" name="Rectangle 7">
            <a:extLst>
              <a:ext uri="{FF2B5EF4-FFF2-40B4-BE49-F238E27FC236}">
                <a16:creationId xmlns:a16="http://schemas.microsoft.com/office/drawing/2014/main" id="{9B14AB08-1460-0D39-5745-9571BD906A9D}"/>
              </a:ext>
            </a:extLst>
          </p:cNvPr>
          <p:cNvSpPr/>
          <p:nvPr/>
        </p:nvSpPr>
        <p:spPr>
          <a:xfrm>
            <a:off x="5946545" y="242691"/>
            <a:ext cx="2803079" cy="623201"/>
          </a:xfrm>
          <a:prstGeom prst="rect">
            <a:avLst/>
          </a:prstGeom>
          <a:solidFill>
            <a:srgbClr val="21364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584000" tIns="71437" rIns="71437" bIns="71437" numCol="1" spcCol="38100" rtlCol="0" anchor="ctr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SAMARBEJDE</a:t>
            </a:r>
            <a:endParaRPr kumimoji="0" lang="da-DK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</p:txBody>
      </p:sp>
      <p:graphicFrame>
        <p:nvGraphicFramePr>
          <p:cNvPr id="88" name="Table 21">
            <a:extLst>
              <a:ext uri="{FF2B5EF4-FFF2-40B4-BE49-F238E27FC236}">
                <a16:creationId xmlns:a16="http://schemas.microsoft.com/office/drawing/2014/main" id="{CB32E7D0-D2C0-7700-8E8F-27ABDBD2DB22}"/>
              </a:ext>
            </a:extLst>
          </p:cNvPr>
          <p:cNvGraphicFramePr>
            <a:graphicFrameLocks noGrp="1"/>
          </p:cNvGraphicFramePr>
          <p:nvPr/>
        </p:nvGraphicFramePr>
        <p:xfrm>
          <a:off x="228187" y="252705"/>
          <a:ext cx="2560289" cy="33896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92794">
                  <a:extLst>
                    <a:ext uri="{9D8B030D-6E8A-4147-A177-3AD203B41FA5}">
                      <a16:colId xmlns:a16="http://schemas.microsoft.com/office/drawing/2014/main" val="41989816"/>
                    </a:ext>
                  </a:extLst>
                </a:gridCol>
                <a:gridCol w="1367495">
                  <a:extLst>
                    <a:ext uri="{9D8B030D-6E8A-4147-A177-3AD203B41FA5}">
                      <a16:colId xmlns:a16="http://schemas.microsoft.com/office/drawing/2014/main" val="1593878834"/>
                    </a:ext>
                  </a:extLst>
                </a:gridCol>
              </a:tblGrid>
              <a:tr h="458428">
                <a:tc>
                  <a:txBody>
                    <a:bodyPr/>
                    <a:lstStyle/>
                    <a:p>
                      <a:r>
                        <a:rPr lang="da-DK" sz="1600" b="0">
                          <a:solidFill>
                            <a:schemeClr val="bg1"/>
                          </a:solidFill>
                        </a:rPr>
                        <a:t>O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0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254869"/>
                  </a:ext>
                </a:extLst>
              </a:tr>
              <a:tr h="458428">
                <a:tc>
                  <a:txBody>
                    <a:bodyPr/>
                    <a:lstStyle/>
                    <a:p>
                      <a:r>
                        <a:rPr lang="da-DK" sz="1000" b="1">
                          <a:solidFill>
                            <a:schemeClr val="bg1"/>
                          </a:solidFill>
                        </a:rPr>
                        <a:t>Virksomhedsnav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883699"/>
                  </a:ext>
                </a:extLst>
              </a:tr>
              <a:tr h="458428">
                <a:tc>
                  <a:txBody>
                    <a:bodyPr/>
                    <a:lstStyle/>
                    <a:p>
                      <a:r>
                        <a:rPr lang="da-DK" sz="1000" b="1">
                          <a:solidFill>
                            <a:schemeClr val="bg1"/>
                          </a:solidFill>
                        </a:rPr>
                        <a:t>Produktnav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633529"/>
                  </a:ext>
                </a:extLst>
              </a:tr>
              <a:tr h="844471">
                <a:tc>
                  <a:txBody>
                    <a:bodyPr/>
                    <a:lstStyle/>
                    <a:p>
                      <a:r>
                        <a:rPr lang="da-DK" sz="1000" b="1" err="1">
                          <a:solidFill>
                            <a:schemeClr val="bg1"/>
                          </a:solidFill>
                        </a:rPr>
                        <a:t>Opstartsår</a:t>
                      </a:r>
                      <a:r>
                        <a:rPr lang="da-DK" sz="1000" b="1">
                          <a:solidFill>
                            <a:schemeClr val="bg1"/>
                          </a:solidFill>
                        </a:rPr>
                        <a:t> for virksomhed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269617"/>
                  </a:ext>
                </a:extLst>
              </a:tr>
              <a:tr h="711481">
                <a:tc>
                  <a:txBody>
                    <a:bodyPr/>
                    <a:lstStyle/>
                    <a:p>
                      <a:r>
                        <a:rPr lang="da-DK" sz="1000" b="1">
                          <a:solidFill>
                            <a:schemeClr val="bg1"/>
                          </a:solidFill>
                        </a:rPr>
                        <a:t>Nuværende omsætning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628577"/>
                  </a:ext>
                </a:extLst>
              </a:tr>
              <a:tr h="458428">
                <a:tc>
                  <a:txBody>
                    <a:bodyPr/>
                    <a:lstStyle/>
                    <a:p>
                      <a:r>
                        <a:rPr lang="da-DK" sz="1000" b="1">
                          <a:solidFill>
                            <a:schemeClr val="bg1"/>
                          </a:solidFill>
                        </a:rPr>
                        <a:t>CE-mærkn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ersion 1: …</a:t>
                      </a:r>
                      <a:endParaRPr lang="da-DK" sz="3600"/>
                    </a:p>
                    <a:p>
                      <a:pPr lvl="0">
                        <a:buNone/>
                      </a:pPr>
                      <a:r>
                        <a:rPr lang="da-DK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ersion 2: 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36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880857"/>
                  </a:ext>
                </a:extLst>
              </a:tr>
            </a:tbl>
          </a:graphicData>
        </a:graphic>
      </p:graphicFrame>
      <p:sp>
        <p:nvSpPr>
          <p:cNvPr id="89" name="Rectangle 22">
            <a:extLst>
              <a:ext uri="{FF2B5EF4-FFF2-40B4-BE49-F238E27FC236}">
                <a16:creationId xmlns:a16="http://schemas.microsoft.com/office/drawing/2014/main" id="{43ABA3BE-FC59-2F34-7F74-4093FE2A6FA6}"/>
              </a:ext>
            </a:extLst>
          </p:cNvPr>
          <p:cNvSpPr/>
          <p:nvPr/>
        </p:nvSpPr>
        <p:spPr>
          <a:xfrm>
            <a:off x="233161" y="3772747"/>
            <a:ext cx="2550339" cy="2203152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noAutofit/>
          </a:bodyPr>
          <a:lstStyle/>
          <a:p>
            <a:pPr marL="0" marR="0" lvl="0" indent="0" algn="ctr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Billede af produkt</a:t>
            </a:r>
          </a:p>
        </p:txBody>
      </p:sp>
      <p:sp>
        <p:nvSpPr>
          <p:cNvPr id="90" name="Rectangle 24">
            <a:extLst>
              <a:ext uri="{FF2B5EF4-FFF2-40B4-BE49-F238E27FC236}">
                <a16:creationId xmlns:a16="http://schemas.microsoft.com/office/drawing/2014/main" id="{AF70F419-1D32-CA06-A86B-623EDDA8B870}"/>
              </a:ext>
            </a:extLst>
          </p:cNvPr>
          <p:cNvSpPr/>
          <p:nvPr/>
        </p:nvSpPr>
        <p:spPr>
          <a:xfrm>
            <a:off x="8954659" y="3674720"/>
            <a:ext cx="2989561" cy="621842"/>
          </a:xfrm>
          <a:prstGeom prst="rect">
            <a:avLst/>
          </a:prstGeom>
          <a:solidFill>
            <a:srgbClr val="21364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584000" tIns="71437" rIns="71437" bIns="71437" numCol="1" spcCol="38100" rtlCol="0" anchor="ctr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Light"/>
              </a:rPr>
              <a:t>MÅLSÆTNING</a:t>
            </a:r>
          </a:p>
        </p:txBody>
      </p:sp>
      <p:grpSp>
        <p:nvGrpSpPr>
          <p:cNvPr id="91" name="Group 26">
            <a:extLst>
              <a:ext uri="{FF2B5EF4-FFF2-40B4-BE49-F238E27FC236}">
                <a16:creationId xmlns:a16="http://schemas.microsoft.com/office/drawing/2014/main" id="{04E3DB1C-CEAC-95A2-7821-EDCDA32EE788}"/>
              </a:ext>
            </a:extLst>
          </p:cNvPr>
          <p:cNvGrpSpPr>
            <a:grpSpLocks noChangeAspect="1"/>
          </p:cNvGrpSpPr>
          <p:nvPr/>
        </p:nvGrpSpPr>
        <p:grpSpPr>
          <a:xfrm>
            <a:off x="3433595" y="43229"/>
            <a:ext cx="407327" cy="636716"/>
            <a:chOff x="514352" y="3273426"/>
            <a:chExt cx="301625" cy="471487"/>
          </a:xfrm>
          <a:noFill/>
        </p:grpSpPr>
        <p:sp>
          <p:nvSpPr>
            <p:cNvPr id="92" name="Line 24">
              <a:extLst>
                <a:ext uri="{FF2B5EF4-FFF2-40B4-BE49-F238E27FC236}">
                  <a16:creationId xmlns:a16="http://schemas.microsoft.com/office/drawing/2014/main" id="{A7804527-C717-5FA3-A011-7CCAF7F98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5315" y="3744913"/>
              <a:ext cx="139700" cy="0"/>
            </a:xfrm>
            <a:prstGeom prst="line">
              <a:avLst/>
            </a:prstGeom>
            <a:grpFill/>
            <a:ln w="38100">
              <a:solidFill>
                <a:srgbClr val="F05A40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93" name="Line 25">
              <a:extLst>
                <a:ext uri="{FF2B5EF4-FFF2-40B4-BE49-F238E27FC236}">
                  <a16:creationId xmlns:a16="http://schemas.microsoft.com/office/drawing/2014/main" id="{BDB745B8-F74F-6C61-A689-0B52604131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5315" y="3700463"/>
              <a:ext cx="139700" cy="0"/>
            </a:xfrm>
            <a:prstGeom prst="line">
              <a:avLst/>
            </a:prstGeom>
            <a:grpFill/>
            <a:ln w="38100">
              <a:solidFill>
                <a:srgbClr val="F05A40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94" name="Freeform 26">
              <a:extLst>
                <a:ext uri="{FF2B5EF4-FFF2-40B4-BE49-F238E27FC236}">
                  <a16:creationId xmlns:a16="http://schemas.microsoft.com/office/drawing/2014/main" id="{8598DA19-5F2F-D56C-9BAA-EDA74CD60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52" y="3273426"/>
              <a:ext cx="301625" cy="382588"/>
            </a:xfrm>
            <a:custGeom>
              <a:avLst/>
              <a:gdLst>
                <a:gd name="T0" fmla="*/ 24 w 67"/>
                <a:gd name="T1" fmla="*/ 50 h 85"/>
                <a:gd name="T2" fmla="*/ 31 w 67"/>
                <a:gd name="T3" fmla="*/ 38 h 85"/>
                <a:gd name="T4" fmla="*/ 43 w 67"/>
                <a:gd name="T5" fmla="*/ 50 h 85"/>
                <a:gd name="T6" fmla="*/ 37 w 67"/>
                <a:gd name="T7" fmla="*/ 62 h 85"/>
                <a:gd name="T8" fmla="*/ 33 w 67"/>
                <a:gd name="T9" fmla="*/ 71 h 85"/>
                <a:gd name="T10" fmla="*/ 33 w 67"/>
                <a:gd name="T11" fmla="*/ 85 h 85"/>
                <a:gd name="T12" fmla="*/ 19 w 67"/>
                <a:gd name="T13" fmla="*/ 85 h 85"/>
                <a:gd name="T14" fmla="*/ 19 w 67"/>
                <a:gd name="T15" fmla="*/ 73 h 85"/>
                <a:gd name="T16" fmla="*/ 12 w 67"/>
                <a:gd name="T17" fmla="*/ 61 h 85"/>
                <a:gd name="T18" fmla="*/ 0 w 67"/>
                <a:gd name="T19" fmla="*/ 34 h 85"/>
                <a:gd name="T20" fmla="*/ 34 w 67"/>
                <a:gd name="T21" fmla="*/ 0 h 85"/>
                <a:gd name="T22" fmla="*/ 67 w 67"/>
                <a:gd name="T23" fmla="*/ 35 h 85"/>
                <a:gd name="T24" fmla="*/ 57 w 67"/>
                <a:gd name="T25" fmla="*/ 5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85">
                  <a:moveTo>
                    <a:pt x="24" y="50"/>
                  </a:moveTo>
                  <a:cubicBezTo>
                    <a:pt x="24" y="50"/>
                    <a:pt x="23" y="40"/>
                    <a:pt x="31" y="38"/>
                  </a:cubicBezTo>
                  <a:cubicBezTo>
                    <a:pt x="39" y="37"/>
                    <a:pt x="43" y="41"/>
                    <a:pt x="43" y="50"/>
                  </a:cubicBezTo>
                  <a:cubicBezTo>
                    <a:pt x="43" y="55"/>
                    <a:pt x="40" y="59"/>
                    <a:pt x="37" y="62"/>
                  </a:cubicBezTo>
                  <a:cubicBezTo>
                    <a:pt x="35" y="64"/>
                    <a:pt x="33" y="67"/>
                    <a:pt x="33" y="71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5"/>
                    <a:pt x="19" y="80"/>
                    <a:pt x="19" y="73"/>
                  </a:cubicBezTo>
                  <a:cubicBezTo>
                    <a:pt x="19" y="66"/>
                    <a:pt x="12" y="61"/>
                    <a:pt x="12" y="61"/>
                  </a:cubicBezTo>
                  <a:cubicBezTo>
                    <a:pt x="12" y="61"/>
                    <a:pt x="0" y="52"/>
                    <a:pt x="0" y="34"/>
                  </a:cubicBezTo>
                  <a:cubicBezTo>
                    <a:pt x="0" y="15"/>
                    <a:pt x="14" y="0"/>
                    <a:pt x="34" y="0"/>
                  </a:cubicBezTo>
                  <a:cubicBezTo>
                    <a:pt x="54" y="0"/>
                    <a:pt x="67" y="16"/>
                    <a:pt x="67" y="35"/>
                  </a:cubicBezTo>
                  <a:cubicBezTo>
                    <a:pt x="67" y="51"/>
                    <a:pt x="57" y="59"/>
                    <a:pt x="57" y="59"/>
                  </a:cubicBezTo>
                </a:path>
              </a:pathLst>
            </a:custGeom>
            <a:grpFill/>
            <a:ln w="38100">
              <a:solidFill>
                <a:srgbClr val="F05A40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endParaRPr>
            </a:p>
          </p:txBody>
        </p:sp>
      </p:grpSp>
      <p:graphicFrame>
        <p:nvGraphicFramePr>
          <p:cNvPr id="95" name="Table 21">
            <a:extLst>
              <a:ext uri="{FF2B5EF4-FFF2-40B4-BE49-F238E27FC236}">
                <a16:creationId xmlns:a16="http://schemas.microsoft.com/office/drawing/2014/main" id="{FFE3B131-8315-CD39-4725-E1F2937C5E13}"/>
              </a:ext>
            </a:extLst>
          </p:cNvPr>
          <p:cNvGraphicFramePr>
            <a:graphicFrameLocks noGrp="1"/>
          </p:cNvGraphicFramePr>
          <p:nvPr/>
        </p:nvGraphicFramePr>
        <p:xfrm>
          <a:off x="2979534" y="917641"/>
          <a:ext cx="2788546" cy="4998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88546">
                  <a:extLst>
                    <a:ext uri="{9D8B030D-6E8A-4147-A177-3AD203B41FA5}">
                      <a16:colId xmlns:a16="http://schemas.microsoft.com/office/drawing/2014/main" val="1593878834"/>
                    </a:ext>
                  </a:extLst>
                </a:gridCol>
              </a:tblGrid>
              <a:tr h="1920240">
                <a:tc>
                  <a:txBody>
                    <a:bodyPr/>
                    <a:lstStyle/>
                    <a:p>
                      <a:r>
                        <a:rPr lang="da-DK" sz="1000" b="1"/>
                        <a:t>Beskriv behovet for målgruppen/personalet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/>
                        <a:t>Det overordnede behov er ”behandling i eget hjem” og nærhed i sundhed, hvor sundhedstilbud kommer tættere på borgeren/patienten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/>
                        <a:t>Flere .. patienter vil have gavn af at få ..-behandling i eget hjem, hvor … monitoreres kontinuerligt og derved reducerer behovet for hyppige hospitalsbesøg og giver en mere fleksibel og behagelig behandlingsoplevelse for patienten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254869"/>
                  </a:ext>
                </a:extLst>
              </a:tr>
              <a:tr h="1310640">
                <a:tc>
                  <a:txBody>
                    <a:bodyPr/>
                    <a:lstStyle/>
                    <a:p>
                      <a:r>
                        <a:rPr lang="da-DK" sz="1000" b="1"/>
                        <a:t>Beskriv produktet, og hvordan det virker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/>
                        <a:t>…. måler .. der sendes til en computer, hvor patienter fra hospitalet eller eget hjem kan ...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0" b="1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883699"/>
                  </a:ext>
                </a:extLst>
              </a:tr>
              <a:tr h="1767840">
                <a:tc>
                  <a:txBody>
                    <a:bodyPr/>
                    <a:lstStyle/>
                    <a:p>
                      <a:r>
                        <a:rPr lang="da-DK" sz="1000" b="1"/>
                        <a:t>Beskriv konkurrentlandskab og hvad der gør løsningen unik (fx teknologisk, økonomisk og/eller funktionelt):</a:t>
                      </a:r>
                    </a:p>
                    <a:p>
                      <a:r>
                        <a:rPr lang="da-DK" sz="1000" b="0"/>
                        <a:t>…</a:t>
                      </a:r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  <a:p>
                      <a:endParaRPr lang="da-DK" sz="1000" b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633529"/>
                  </a:ext>
                </a:extLst>
              </a:tr>
            </a:tbl>
          </a:graphicData>
        </a:graphic>
      </p:graphicFrame>
      <p:graphicFrame>
        <p:nvGraphicFramePr>
          <p:cNvPr id="97" name="Table 21">
            <a:extLst>
              <a:ext uri="{FF2B5EF4-FFF2-40B4-BE49-F238E27FC236}">
                <a16:creationId xmlns:a16="http://schemas.microsoft.com/office/drawing/2014/main" id="{B62F0D9B-62EB-437D-FED5-62D70D9EBEB4}"/>
              </a:ext>
            </a:extLst>
          </p:cNvPr>
          <p:cNvGraphicFramePr>
            <a:graphicFrameLocks noGrp="1"/>
          </p:cNvGraphicFramePr>
          <p:nvPr/>
        </p:nvGraphicFramePr>
        <p:xfrm>
          <a:off x="5960799" y="879371"/>
          <a:ext cx="2788546" cy="50521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88546">
                  <a:extLst>
                    <a:ext uri="{9D8B030D-6E8A-4147-A177-3AD203B41FA5}">
                      <a16:colId xmlns:a16="http://schemas.microsoft.com/office/drawing/2014/main" val="875889426"/>
                    </a:ext>
                  </a:extLst>
                </a:gridCol>
              </a:tblGrid>
              <a:tr h="243840">
                <a:tc>
                  <a:txBody>
                    <a:bodyPr/>
                    <a:lstStyle/>
                    <a:p>
                      <a:r>
                        <a:rPr lang="da-DK" sz="1000" b="1" i="1"/>
                        <a:t>Ideer og ønsker til et samarbejde og testforløb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254869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marL="0" marR="0" lvl="0" indent="0" algn="l" defTabSz="18288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/>
                        <a:t>Institutioner/afdelinger:</a:t>
                      </a:r>
                    </a:p>
                    <a:p>
                      <a:r>
                        <a:rPr lang="da-DK" sz="1000" b="0"/>
                        <a:t>Afdelinger der ønsker at … </a:t>
                      </a:r>
                      <a:r>
                        <a:rPr lang="da-DK" sz="1000"/>
                        <a:t>i patientens eget hjem.</a:t>
                      </a:r>
                    </a:p>
                    <a:p>
                      <a:endParaRPr lang="da-DK" sz="100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0"/>
                        <a:t>Afdelinger der giver … </a:t>
                      </a:r>
                      <a:r>
                        <a:rPr lang="da-DK" sz="1000"/>
                        <a:t>og har patienter til efterfølgende observation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883699"/>
                  </a:ext>
                </a:extLst>
              </a:tr>
              <a:tr h="1310640">
                <a:tc>
                  <a:txBody>
                    <a:bodyPr/>
                    <a:lstStyle/>
                    <a:p>
                      <a:pPr marL="0" marR="0" lvl="0" indent="0" algn="l" defTabSz="18288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/>
                        <a:t>Patientmålgruppe:</a:t>
                      </a:r>
                    </a:p>
                    <a:p>
                      <a:r>
                        <a:rPr lang="da-DK" sz="1000" b="0"/>
                        <a:t>Patienter der skal have </a:t>
                      </a:r>
                      <a:r>
                        <a:rPr lang="da-DK" sz="10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… og gerne vil have det i eget hjem</a:t>
                      </a:r>
                      <a:r>
                        <a:rPr lang="da-DK" sz="1000" b="0"/>
                        <a:t>. </a:t>
                      </a:r>
                      <a:r>
                        <a:rPr lang="da-DK" sz="1000"/>
                        <a:t>Nuværende situation er, at patienterne skal have … på hospitalet, hvorfor de skal blive til …, der er ressourcekrævende for både patienter og personale. </a:t>
                      </a:r>
                    </a:p>
                    <a:p>
                      <a:endParaRPr lang="da-DK" sz="1000" b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633529"/>
                  </a:ext>
                </a:extLst>
              </a:tr>
              <a:tr h="2339446">
                <a:tc>
                  <a:txBody>
                    <a:bodyPr/>
                    <a:lstStyle/>
                    <a:p>
                      <a:r>
                        <a:rPr lang="da-DK" sz="1000" b="1"/>
                        <a:t>Beskriv udviklingsmål for samarbejdet: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i="1"/>
                        <a:t>Patientkvalitet: </a:t>
                      </a:r>
                      <a:r>
                        <a:rPr lang="da-DK" sz="1000" b="0" i="0"/>
                        <a:t>At opnå </a:t>
                      </a:r>
                      <a:r>
                        <a:rPr lang="da-DK" sz="1000" b="0"/>
                        <a:t>viden om, hvorvidt løsningen kan leve op til gældende standarder også ift. patientkvaliteten. 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i="1"/>
                        <a:t>Arbejdsgang: </a:t>
                      </a:r>
                      <a:r>
                        <a:rPr lang="da-DK" sz="1000" b="0" i="0"/>
                        <a:t>At o</a:t>
                      </a:r>
                      <a:r>
                        <a:rPr lang="da-DK" sz="1000" b="0"/>
                        <a:t>pnå viden om, hvordan løsningen kan understøtte og sikre optimale arbejdsgange ift. hjemmemonitorering. 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i="1"/>
                        <a:t>Ressourceforbrug: </a:t>
                      </a:r>
                      <a:r>
                        <a:rPr lang="da-DK" sz="1000" b="0" i="0"/>
                        <a:t>At opnå </a:t>
                      </a:r>
                      <a:r>
                        <a:rPr lang="da-DK" sz="1000" b="0"/>
                        <a:t>viden om, hvorvidt løsningen kan forbedre ressourceforbrug og/eller pris pr. patient. 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i="1"/>
                        <a:t>Social bæredygtighed: </a:t>
                      </a:r>
                      <a:r>
                        <a:rPr lang="da-DK" sz="1000" b="0" i="0"/>
                        <a:t>At opnå </a:t>
                      </a:r>
                      <a:r>
                        <a:rPr lang="da-DK" sz="1000" b="0"/>
                        <a:t>viden om, hvorvidt løsningen kan gøre, at flere patienter behandles med …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0386917"/>
                  </a:ext>
                </a:extLst>
              </a:tr>
            </a:tbl>
          </a:graphicData>
        </a:graphic>
      </p:graphicFrame>
      <p:grpSp>
        <p:nvGrpSpPr>
          <p:cNvPr id="105" name="Google Shape;124;p1">
            <a:extLst>
              <a:ext uri="{FF2B5EF4-FFF2-40B4-BE49-F238E27FC236}">
                <a16:creationId xmlns:a16="http://schemas.microsoft.com/office/drawing/2014/main" id="{D5C6BC15-F314-FACD-2188-57CACEE9DC51}"/>
              </a:ext>
            </a:extLst>
          </p:cNvPr>
          <p:cNvGrpSpPr/>
          <p:nvPr/>
        </p:nvGrpSpPr>
        <p:grpSpPr>
          <a:xfrm>
            <a:off x="6238995" y="69286"/>
            <a:ext cx="857060" cy="604057"/>
            <a:chOff x="9067846" y="3523138"/>
            <a:chExt cx="576811" cy="439151"/>
          </a:xfrm>
        </p:grpSpPr>
        <p:grpSp>
          <p:nvGrpSpPr>
            <p:cNvPr id="106" name="Google Shape;125;p1">
              <a:extLst>
                <a:ext uri="{FF2B5EF4-FFF2-40B4-BE49-F238E27FC236}">
                  <a16:creationId xmlns:a16="http://schemas.microsoft.com/office/drawing/2014/main" id="{9EBDD184-DA3B-FE43-18D0-C2FF89195EA3}"/>
                </a:ext>
              </a:extLst>
            </p:cNvPr>
            <p:cNvGrpSpPr/>
            <p:nvPr/>
          </p:nvGrpSpPr>
          <p:grpSpPr>
            <a:xfrm>
              <a:off x="9322148" y="3591571"/>
              <a:ext cx="58292" cy="58349"/>
              <a:chOff x="9322148" y="3591571"/>
              <a:chExt cx="58292" cy="58349"/>
            </a:xfrm>
          </p:grpSpPr>
          <p:sp>
            <p:nvSpPr>
              <p:cNvPr id="117" name="Google Shape;126;p1">
                <a:extLst>
                  <a:ext uri="{FF2B5EF4-FFF2-40B4-BE49-F238E27FC236}">
                    <a16:creationId xmlns:a16="http://schemas.microsoft.com/office/drawing/2014/main" id="{B6981CAE-E092-691A-0F91-E155BD88BB72}"/>
                  </a:ext>
                </a:extLst>
              </p:cNvPr>
              <p:cNvSpPr/>
              <p:nvPr/>
            </p:nvSpPr>
            <p:spPr>
              <a:xfrm>
                <a:off x="9351266" y="3591571"/>
                <a:ext cx="5665" cy="58349"/>
              </a:xfrm>
              <a:custGeom>
                <a:avLst/>
                <a:gdLst/>
                <a:ahLst/>
                <a:cxnLst/>
                <a:rect l="l" t="t" r="r" b="b"/>
                <a:pathLst>
                  <a:path w="5665" h="58349" extrusionOk="0">
                    <a:moveTo>
                      <a:pt x="0" y="0"/>
                    </a:moveTo>
                    <a:lnTo>
                      <a:pt x="0" y="58350"/>
                    </a:lnTo>
                  </a:path>
                </a:pathLst>
              </a:custGeom>
              <a:noFill/>
              <a:ln w="38100" cap="rnd" cmpd="sng">
                <a:solidFill>
                  <a:srgbClr val="F05A4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5000"/>
                  <a:buFontTx/>
                  <a:buNone/>
                  <a:tabLst/>
                  <a:defRPr/>
                </a:pPr>
                <a:endParaRPr kumimoji="0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" name="Google Shape;127;p1">
                <a:extLst>
                  <a:ext uri="{FF2B5EF4-FFF2-40B4-BE49-F238E27FC236}">
                    <a16:creationId xmlns:a16="http://schemas.microsoft.com/office/drawing/2014/main" id="{6BE890FC-FF9C-B8E3-DFDB-5EACCF55286A}"/>
                  </a:ext>
                </a:extLst>
              </p:cNvPr>
              <p:cNvSpPr/>
              <p:nvPr/>
            </p:nvSpPr>
            <p:spPr>
              <a:xfrm>
                <a:off x="9322148" y="3620746"/>
                <a:ext cx="58292" cy="5665"/>
              </a:xfrm>
              <a:custGeom>
                <a:avLst/>
                <a:gdLst/>
                <a:ahLst/>
                <a:cxnLst/>
                <a:rect l="l" t="t" r="r" b="b"/>
                <a:pathLst>
                  <a:path w="58292" h="5665" extrusionOk="0">
                    <a:moveTo>
                      <a:pt x="58293" y="0"/>
                    </a:moveTo>
                    <a:lnTo>
                      <a:pt x="0" y="0"/>
                    </a:lnTo>
                  </a:path>
                </a:pathLst>
              </a:custGeom>
              <a:noFill/>
              <a:ln w="38100" cap="rnd" cmpd="sng">
                <a:solidFill>
                  <a:srgbClr val="F05A4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5000"/>
                  <a:buFontTx/>
                  <a:buNone/>
                  <a:tabLst/>
                  <a:defRPr/>
                </a:pPr>
                <a:endParaRPr kumimoji="0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07" name="Google Shape;128;p1">
              <a:extLst>
                <a:ext uri="{FF2B5EF4-FFF2-40B4-BE49-F238E27FC236}">
                  <a16:creationId xmlns:a16="http://schemas.microsoft.com/office/drawing/2014/main" id="{7DE53703-B585-BF4A-8DFB-5E67BEDF1091}"/>
                </a:ext>
              </a:extLst>
            </p:cNvPr>
            <p:cNvSpPr/>
            <p:nvPr/>
          </p:nvSpPr>
          <p:spPr>
            <a:xfrm>
              <a:off x="9248730" y="3523138"/>
              <a:ext cx="215043" cy="439151"/>
            </a:xfrm>
            <a:custGeom>
              <a:avLst/>
              <a:gdLst/>
              <a:ahLst/>
              <a:cxnLst/>
              <a:rect l="l" t="t" r="r" b="b"/>
              <a:pathLst>
                <a:path w="215043" h="439151" extrusionOk="0">
                  <a:moveTo>
                    <a:pt x="0" y="439152"/>
                  </a:moveTo>
                  <a:lnTo>
                    <a:pt x="0" y="0"/>
                  </a:lnTo>
                  <a:lnTo>
                    <a:pt x="215044" y="0"/>
                  </a:lnTo>
                  <a:lnTo>
                    <a:pt x="215044" y="439152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129;p1">
              <a:extLst>
                <a:ext uri="{FF2B5EF4-FFF2-40B4-BE49-F238E27FC236}">
                  <a16:creationId xmlns:a16="http://schemas.microsoft.com/office/drawing/2014/main" id="{55BE2C13-757B-33FD-CB2B-CE26FA909FC5}"/>
                </a:ext>
              </a:extLst>
            </p:cNvPr>
            <p:cNvSpPr/>
            <p:nvPr/>
          </p:nvSpPr>
          <p:spPr>
            <a:xfrm>
              <a:off x="9067846" y="3649694"/>
              <a:ext cx="180884" cy="312595"/>
            </a:xfrm>
            <a:custGeom>
              <a:avLst/>
              <a:gdLst/>
              <a:ahLst/>
              <a:cxnLst/>
              <a:rect l="l" t="t" r="r" b="b"/>
              <a:pathLst>
                <a:path w="180884" h="312595" extrusionOk="0">
                  <a:moveTo>
                    <a:pt x="0" y="312595"/>
                  </a:moveTo>
                  <a:lnTo>
                    <a:pt x="0" y="0"/>
                  </a:lnTo>
                  <a:lnTo>
                    <a:pt x="180884" y="0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" name="Google Shape;130;p1">
              <a:extLst>
                <a:ext uri="{FF2B5EF4-FFF2-40B4-BE49-F238E27FC236}">
                  <a16:creationId xmlns:a16="http://schemas.microsoft.com/office/drawing/2014/main" id="{EB2E5529-ED0D-08D8-2A1C-F20A1063619A}"/>
                </a:ext>
              </a:extLst>
            </p:cNvPr>
            <p:cNvSpPr/>
            <p:nvPr/>
          </p:nvSpPr>
          <p:spPr>
            <a:xfrm>
              <a:off x="9463773" y="3649694"/>
              <a:ext cx="180884" cy="312595"/>
            </a:xfrm>
            <a:custGeom>
              <a:avLst/>
              <a:gdLst/>
              <a:ahLst/>
              <a:cxnLst/>
              <a:rect l="l" t="t" r="r" b="b"/>
              <a:pathLst>
                <a:path w="180884" h="312595" extrusionOk="0">
                  <a:moveTo>
                    <a:pt x="0" y="0"/>
                  </a:moveTo>
                  <a:lnTo>
                    <a:pt x="180884" y="0"/>
                  </a:lnTo>
                  <a:lnTo>
                    <a:pt x="180884" y="312595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" name="Google Shape;131;p1">
              <a:extLst>
                <a:ext uri="{FF2B5EF4-FFF2-40B4-BE49-F238E27FC236}">
                  <a16:creationId xmlns:a16="http://schemas.microsoft.com/office/drawing/2014/main" id="{6ACDD546-9F0E-0102-550F-4F27ED613970}"/>
                </a:ext>
              </a:extLst>
            </p:cNvPr>
            <p:cNvSpPr/>
            <p:nvPr/>
          </p:nvSpPr>
          <p:spPr>
            <a:xfrm>
              <a:off x="9311838" y="3813243"/>
              <a:ext cx="84748" cy="149046"/>
            </a:xfrm>
            <a:custGeom>
              <a:avLst/>
              <a:gdLst/>
              <a:ahLst/>
              <a:cxnLst/>
              <a:rect l="l" t="t" r="r" b="b"/>
              <a:pathLst>
                <a:path w="84748" h="149046" extrusionOk="0">
                  <a:moveTo>
                    <a:pt x="84748" y="149046"/>
                  </a:moveTo>
                  <a:lnTo>
                    <a:pt x="84748" y="42374"/>
                  </a:lnTo>
                  <a:cubicBezTo>
                    <a:pt x="84748" y="18978"/>
                    <a:pt x="65771" y="0"/>
                    <a:pt x="42374" y="0"/>
                  </a:cubicBezTo>
                  <a:lnTo>
                    <a:pt x="42374" y="0"/>
                  </a:lnTo>
                  <a:cubicBezTo>
                    <a:pt x="18978" y="0"/>
                    <a:pt x="0" y="18978"/>
                    <a:pt x="0" y="42374"/>
                  </a:cubicBezTo>
                  <a:lnTo>
                    <a:pt x="0" y="148990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132;p1">
              <a:extLst>
                <a:ext uri="{FF2B5EF4-FFF2-40B4-BE49-F238E27FC236}">
                  <a16:creationId xmlns:a16="http://schemas.microsoft.com/office/drawing/2014/main" id="{139B073A-63A5-13FD-21DD-1E361D4FC27B}"/>
                </a:ext>
              </a:extLst>
            </p:cNvPr>
            <p:cNvSpPr/>
            <p:nvPr/>
          </p:nvSpPr>
          <p:spPr>
            <a:xfrm>
              <a:off x="9131294" y="3687649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5" y="0"/>
                  </a:lnTo>
                  <a:lnTo>
                    <a:pt x="54045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Google Shape;133;p1">
              <a:extLst>
                <a:ext uri="{FF2B5EF4-FFF2-40B4-BE49-F238E27FC236}">
                  <a16:creationId xmlns:a16="http://schemas.microsoft.com/office/drawing/2014/main" id="{A4EB9711-671B-EAF5-7299-5F1864631782}"/>
                </a:ext>
              </a:extLst>
            </p:cNvPr>
            <p:cNvSpPr/>
            <p:nvPr/>
          </p:nvSpPr>
          <p:spPr>
            <a:xfrm>
              <a:off x="9131294" y="3778969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5" y="0"/>
                  </a:lnTo>
                  <a:lnTo>
                    <a:pt x="54045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" name="Google Shape;134;p1">
              <a:extLst>
                <a:ext uri="{FF2B5EF4-FFF2-40B4-BE49-F238E27FC236}">
                  <a16:creationId xmlns:a16="http://schemas.microsoft.com/office/drawing/2014/main" id="{B44DD6B9-33B1-E70B-20C1-B56AA414D618}"/>
                </a:ext>
              </a:extLst>
            </p:cNvPr>
            <p:cNvSpPr/>
            <p:nvPr/>
          </p:nvSpPr>
          <p:spPr>
            <a:xfrm>
              <a:off x="9131294" y="3870346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5" y="0"/>
                  </a:lnTo>
                  <a:lnTo>
                    <a:pt x="54045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Google Shape;135;p1">
              <a:extLst>
                <a:ext uri="{FF2B5EF4-FFF2-40B4-BE49-F238E27FC236}">
                  <a16:creationId xmlns:a16="http://schemas.microsoft.com/office/drawing/2014/main" id="{5F3BB48A-41B4-8D40-4A61-674E93DD101A}"/>
                </a:ext>
              </a:extLst>
            </p:cNvPr>
            <p:cNvSpPr/>
            <p:nvPr/>
          </p:nvSpPr>
          <p:spPr>
            <a:xfrm>
              <a:off x="9527222" y="3687649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4" y="0"/>
                  </a:lnTo>
                  <a:lnTo>
                    <a:pt x="54044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" name="Google Shape;136;p1">
              <a:extLst>
                <a:ext uri="{FF2B5EF4-FFF2-40B4-BE49-F238E27FC236}">
                  <a16:creationId xmlns:a16="http://schemas.microsoft.com/office/drawing/2014/main" id="{0A92522C-1C92-EA62-5E7C-5A70AB04FAB7}"/>
                </a:ext>
              </a:extLst>
            </p:cNvPr>
            <p:cNvSpPr/>
            <p:nvPr/>
          </p:nvSpPr>
          <p:spPr>
            <a:xfrm>
              <a:off x="9527222" y="3778969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4" y="0"/>
                  </a:lnTo>
                  <a:lnTo>
                    <a:pt x="54044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" name="Google Shape;137;p1">
              <a:extLst>
                <a:ext uri="{FF2B5EF4-FFF2-40B4-BE49-F238E27FC236}">
                  <a16:creationId xmlns:a16="http://schemas.microsoft.com/office/drawing/2014/main" id="{F7429B18-3659-CBDF-1DDB-6305F14C870A}"/>
                </a:ext>
              </a:extLst>
            </p:cNvPr>
            <p:cNvSpPr/>
            <p:nvPr/>
          </p:nvSpPr>
          <p:spPr>
            <a:xfrm>
              <a:off x="9527222" y="3870346"/>
              <a:ext cx="54044" cy="54044"/>
            </a:xfrm>
            <a:custGeom>
              <a:avLst/>
              <a:gdLst/>
              <a:ahLst/>
              <a:cxnLst/>
              <a:rect l="l" t="t" r="r" b="b"/>
              <a:pathLst>
                <a:path w="54044" h="54044" extrusionOk="0">
                  <a:moveTo>
                    <a:pt x="0" y="0"/>
                  </a:moveTo>
                  <a:lnTo>
                    <a:pt x="54044" y="0"/>
                  </a:lnTo>
                  <a:lnTo>
                    <a:pt x="54044" y="54044"/>
                  </a:lnTo>
                  <a:lnTo>
                    <a:pt x="0" y="54044"/>
                  </a:lnTo>
                  <a:close/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9" name="Google Shape;145;p1">
            <a:extLst>
              <a:ext uri="{FF2B5EF4-FFF2-40B4-BE49-F238E27FC236}">
                <a16:creationId xmlns:a16="http://schemas.microsoft.com/office/drawing/2014/main" id="{2CF0F355-AA84-20EB-B95D-B0478E5AD73B}"/>
              </a:ext>
            </a:extLst>
          </p:cNvPr>
          <p:cNvGrpSpPr/>
          <p:nvPr/>
        </p:nvGrpSpPr>
        <p:grpSpPr>
          <a:xfrm>
            <a:off x="9368214" y="69286"/>
            <a:ext cx="629936" cy="644822"/>
            <a:chOff x="487364" y="1441450"/>
            <a:chExt cx="422275" cy="454025"/>
          </a:xfrm>
        </p:grpSpPr>
        <p:cxnSp>
          <p:nvCxnSpPr>
            <p:cNvPr id="120" name="Google Shape;146;p1">
              <a:extLst>
                <a:ext uri="{FF2B5EF4-FFF2-40B4-BE49-F238E27FC236}">
                  <a16:creationId xmlns:a16="http://schemas.microsoft.com/office/drawing/2014/main" id="{3497CE77-2EFD-C0A8-1E6A-8F937C2C634C}"/>
                </a:ext>
              </a:extLst>
            </p:cNvPr>
            <p:cNvCxnSpPr/>
            <p:nvPr/>
          </p:nvCxnSpPr>
          <p:spPr>
            <a:xfrm rot="10800000">
              <a:off x="681039" y="1670050"/>
              <a:ext cx="228600" cy="0"/>
            </a:xfrm>
            <a:prstGeom prst="straightConnector1">
              <a:avLst/>
            </a:prstGeom>
            <a:noFill/>
            <a:ln w="28575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121" name="Google Shape;147;p1">
              <a:extLst>
                <a:ext uri="{FF2B5EF4-FFF2-40B4-BE49-F238E27FC236}">
                  <a16:creationId xmlns:a16="http://schemas.microsoft.com/office/drawing/2014/main" id="{5577FB3D-E871-2F17-A567-C4A570F322E2}"/>
                </a:ext>
              </a:extLst>
            </p:cNvPr>
            <p:cNvSpPr/>
            <p:nvPr/>
          </p:nvSpPr>
          <p:spPr>
            <a:xfrm>
              <a:off x="617539" y="1593850"/>
              <a:ext cx="73025" cy="149225"/>
            </a:xfrm>
            <a:custGeom>
              <a:avLst/>
              <a:gdLst/>
              <a:ahLst/>
              <a:cxnLst/>
              <a:rect l="l" t="t" r="r" b="b"/>
              <a:pathLst>
                <a:path w="46" h="94" extrusionOk="0">
                  <a:moveTo>
                    <a:pt x="46" y="94"/>
                  </a:moveTo>
                  <a:lnTo>
                    <a:pt x="0" y="48"/>
                  </a:lnTo>
                  <a:lnTo>
                    <a:pt x="46" y="0"/>
                  </a:lnTo>
                </a:path>
              </a:pathLst>
            </a:custGeom>
            <a:noFill/>
            <a:ln w="28575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" name="Google Shape;148;p1">
              <a:extLst>
                <a:ext uri="{FF2B5EF4-FFF2-40B4-BE49-F238E27FC236}">
                  <a16:creationId xmlns:a16="http://schemas.microsoft.com/office/drawing/2014/main" id="{A7EC28D5-BCF1-5065-76FB-0572EADF041C}"/>
                </a:ext>
              </a:extLst>
            </p:cNvPr>
            <p:cNvSpPr/>
            <p:nvPr/>
          </p:nvSpPr>
          <p:spPr>
            <a:xfrm>
              <a:off x="487364" y="1441450"/>
              <a:ext cx="287338" cy="454025"/>
            </a:xfrm>
            <a:custGeom>
              <a:avLst/>
              <a:gdLst/>
              <a:ahLst/>
              <a:cxnLst/>
              <a:rect l="l" t="t" r="r" b="b"/>
              <a:pathLst>
                <a:path w="181" h="286" extrusionOk="0">
                  <a:moveTo>
                    <a:pt x="181" y="102"/>
                  </a:moveTo>
                  <a:lnTo>
                    <a:pt x="181" y="0"/>
                  </a:lnTo>
                  <a:lnTo>
                    <a:pt x="0" y="0"/>
                  </a:lnTo>
                  <a:lnTo>
                    <a:pt x="0" y="286"/>
                  </a:lnTo>
                  <a:lnTo>
                    <a:pt x="181" y="286"/>
                  </a:lnTo>
                  <a:lnTo>
                    <a:pt x="181" y="184"/>
                  </a:lnTo>
                </a:path>
              </a:pathLst>
            </a:custGeom>
            <a:noFill/>
            <a:ln w="28575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23" name="Rectangle 2">
            <a:extLst>
              <a:ext uri="{FF2B5EF4-FFF2-40B4-BE49-F238E27FC236}">
                <a16:creationId xmlns:a16="http://schemas.microsoft.com/office/drawing/2014/main" id="{C7FCAE56-68AC-9EC2-A363-CD35E64998FE}"/>
              </a:ext>
            </a:extLst>
          </p:cNvPr>
          <p:cNvSpPr/>
          <p:nvPr/>
        </p:nvSpPr>
        <p:spPr>
          <a:xfrm>
            <a:off x="8959840" y="4293418"/>
            <a:ext cx="2984380" cy="1623528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t">
            <a:noAutofit/>
          </a:bodyPr>
          <a:lstStyle/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Evidens:</a:t>
            </a: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Helvetica Neue"/>
              </a:rPr>
              <a:t>Testforløbet skal være med til at bekræfte, at … kan erstatte de nuværende arbejdsrutiner for en del patienter, der får ordineret … </a:t>
            </a:r>
            <a:b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Helvetica Neue"/>
              </a:rPr>
            </a:b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Helvetica Neue"/>
              </a:rPr>
              <a:t>Økonomisk: </a:t>
            </a: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Helvetica Neue"/>
              </a:rPr>
              <a:t>Testforløbet skal være med til at bekræfte, at … kan spare regionen ressourcer pr. patient, patientmålgruppen eller på anden vis. </a:t>
            </a: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</p:txBody>
      </p:sp>
      <p:pic>
        <p:nvPicPr>
          <p:cNvPr id="124" name="Billede 1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247" y="6196825"/>
            <a:ext cx="5644997" cy="608444"/>
          </a:xfrm>
          <a:prstGeom prst="rect">
            <a:avLst/>
          </a:prstGeom>
        </p:spPr>
      </p:pic>
      <p:grpSp>
        <p:nvGrpSpPr>
          <p:cNvPr id="98" name="Google Shape;138;p1">
            <a:extLst>
              <a:ext uri="{FF2B5EF4-FFF2-40B4-BE49-F238E27FC236}">
                <a16:creationId xmlns:a16="http://schemas.microsoft.com/office/drawing/2014/main" id="{4FA0FB77-8F5F-7247-4AEE-3DE766AF6779}"/>
              </a:ext>
            </a:extLst>
          </p:cNvPr>
          <p:cNvGrpSpPr/>
          <p:nvPr/>
        </p:nvGrpSpPr>
        <p:grpSpPr>
          <a:xfrm>
            <a:off x="9197735" y="3549167"/>
            <a:ext cx="645434" cy="685704"/>
            <a:chOff x="1493842" y="3138993"/>
            <a:chExt cx="566738" cy="563563"/>
          </a:xfrm>
        </p:grpSpPr>
        <p:sp>
          <p:nvSpPr>
            <p:cNvPr id="99" name="Google Shape;139;p1">
              <a:extLst>
                <a:ext uri="{FF2B5EF4-FFF2-40B4-BE49-F238E27FC236}">
                  <a16:creationId xmlns:a16="http://schemas.microsoft.com/office/drawing/2014/main" id="{185A9E09-054E-F6F1-0283-91CC843A299D}"/>
                </a:ext>
              </a:extLst>
            </p:cNvPr>
            <p:cNvSpPr/>
            <p:nvPr/>
          </p:nvSpPr>
          <p:spPr>
            <a:xfrm>
              <a:off x="1898654" y="3138993"/>
              <a:ext cx="90488" cy="149225"/>
            </a:xfrm>
            <a:custGeom>
              <a:avLst/>
              <a:gdLst/>
              <a:ahLst/>
              <a:cxnLst/>
              <a:rect l="l" t="t" r="r" b="b"/>
              <a:pathLst>
                <a:path w="57" h="94" extrusionOk="0">
                  <a:moveTo>
                    <a:pt x="9" y="94"/>
                  </a:moveTo>
                  <a:lnTo>
                    <a:pt x="0" y="49"/>
                  </a:lnTo>
                  <a:lnTo>
                    <a:pt x="48" y="0"/>
                  </a:lnTo>
                  <a:lnTo>
                    <a:pt x="57" y="46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40;p1">
              <a:extLst>
                <a:ext uri="{FF2B5EF4-FFF2-40B4-BE49-F238E27FC236}">
                  <a16:creationId xmlns:a16="http://schemas.microsoft.com/office/drawing/2014/main" id="{06C7581B-2C00-F2B9-F2ED-67E7E9A4B986}"/>
                </a:ext>
              </a:extLst>
            </p:cNvPr>
            <p:cNvSpPr/>
            <p:nvPr/>
          </p:nvSpPr>
          <p:spPr>
            <a:xfrm>
              <a:off x="1912942" y="3212018"/>
              <a:ext cx="147638" cy="90488"/>
            </a:xfrm>
            <a:custGeom>
              <a:avLst/>
              <a:gdLst/>
              <a:ahLst/>
              <a:cxnLst/>
              <a:rect l="l" t="t" r="r" b="b"/>
              <a:pathLst>
                <a:path w="93" h="57" extrusionOk="0">
                  <a:moveTo>
                    <a:pt x="48" y="0"/>
                  </a:moveTo>
                  <a:lnTo>
                    <a:pt x="93" y="8"/>
                  </a:lnTo>
                  <a:lnTo>
                    <a:pt x="45" y="57"/>
                  </a:lnTo>
                  <a:lnTo>
                    <a:pt x="0" y="48"/>
                  </a:ln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1" name="Google Shape;141;p1">
              <a:extLst>
                <a:ext uri="{FF2B5EF4-FFF2-40B4-BE49-F238E27FC236}">
                  <a16:creationId xmlns:a16="http://schemas.microsoft.com/office/drawing/2014/main" id="{26EF5101-1DD4-A1A9-B711-AC806C202593}"/>
                </a:ext>
              </a:extLst>
            </p:cNvPr>
            <p:cNvCxnSpPr/>
            <p:nvPr/>
          </p:nvCxnSpPr>
          <p:spPr>
            <a:xfrm rot="10800000" flipH="1">
              <a:off x="1709742" y="3212018"/>
              <a:ext cx="279400" cy="274638"/>
            </a:xfrm>
            <a:prstGeom prst="straightConnector1">
              <a:avLst/>
            </a:pr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102" name="Google Shape;142;p1">
              <a:extLst>
                <a:ext uri="{FF2B5EF4-FFF2-40B4-BE49-F238E27FC236}">
                  <a16:creationId xmlns:a16="http://schemas.microsoft.com/office/drawing/2014/main" id="{E92C61A8-B0F5-0206-8B2B-FA71FFED1253}"/>
                </a:ext>
              </a:extLst>
            </p:cNvPr>
            <p:cNvSpPr/>
            <p:nvPr/>
          </p:nvSpPr>
          <p:spPr>
            <a:xfrm>
              <a:off x="1493842" y="3265993"/>
              <a:ext cx="441325" cy="436563"/>
            </a:xfrm>
            <a:custGeom>
              <a:avLst/>
              <a:gdLst/>
              <a:ahLst/>
              <a:cxnLst/>
              <a:rect l="l" t="t" r="r" b="b"/>
              <a:pathLst>
                <a:path w="98" h="97" extrusionOk="0">
                  <a:moveTo>
                    <a:pt x="88" y="20"/>
                  </a:moveTo>
                  <a:cubicBezTo>
                    <a:pt x="94" y="28"/>
                    <a:pt x="98" y="38"/>
                    <a:pt x="98" y="49"/>
                  </a:cubicBezTo>
                  <a:cubicBezTo>
                    <a:pt x="98" y="76"/>
                    <a:pt x="76" y="97"/>
                    <a:pt x="49" y="97"/>
                  </a:cubicBezTo>
                  <a:cubicBezTo>
                    <a:pt x="22" y="97"/>
                    <a:pt x="0" y="76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59" y="0"/>
                    <a:pt x="69" y="3"/>
                    <a:pt x="76" y="8"/>
                  </a:cubicBez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" name="Google Shape;143;p1">
              <a:extLst>
                <a:ext uri="{FF2B5EF4-FFF2-40B4-BE49-F238E27FC236}">
                  <a16:creationId xmlns:a16="http://schemas.microsoft.com/office/drawing/2014/main" id="{345BD9CA-D758-FACA-6FB1-0C24EB123BBA}"/>
                </a:ext>
              </a:extLst>
            </p:cNvPr>
            <p:cNvSpPr/>
            <p:nvPr/>
          </p:nvSpPr>
          <p:spPr>
            <a:xfrm>
              <a:off x="1570042" y="3342193"/>
              <a:ext cx="288925" cy="288925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0" y="16"/>
                  </a:moveTo>
                  <a:cubicBezTo>
                    <a:pt x="63" y="21"/>
                    <a:pt x="64" y="26"/>
                    <a:pt x="64" y="32"/>
                  </a:cubicBezTo>
                  <a:cubicBezTo>
                    <a:pt x="64" y="49"/>
                    <a:pt x="50" y="64"/>
                    <a:pt x="32" y="64"/>
                  </a:cubicBezTo>
                  <a:cubicBezTo>
                    <a:pt x="14" y="64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37" y="0"/>
                    <a:pt x="41" y="1"/>
                    <a:pt x="46" y="3"/>
                  </a:cubicBez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" name="Google Shape;144;p1">
              <a:extLst>
                <a:ext uri="{FF2B5EF4-FFF2-40B4-BE49-F238E27FC236}">
                  <a16:creationId xmlns:a16="http://schemas.microsoft.com/office/drawing/2014/main" id="{095248E5-0D0D-E711-E13F-EC22971C3DF2}"/>
                </a:ext>
              </a:extLst>
            </p:cNvPr>
            <p:cNvSpPr/>
            <p:nvPr/>
          </p:nvSpPr>
          <p:spPr>
            <a:xfrm>
              <a:off x="1643067" y="3410455"/>
              <a:ext cx="142875" cy="14763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19" y="1"/>
                  </a:moveTo>
                  <a:cubicBezTo>
                    <a:pt x="18" y="0"/>
                    <a:pt x="17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6"/>
                    <a:pt x="7" y="33"/>
                    <a:pt x="16" y="33"/>
                  </a:cubicBezTo>
                  <a:cubicBezTo>
                    <a:pt x="25" y="33"/>
                    <a:pt x="32" y="26"/>
                    <a:pt x="32" y="17"/>
                  </a:cubicBezTo>
                  <a:cubicBezTo>
                    <a:pt x="32" y="15"/>
                    <a:pt x="32" y="13"/>
                    <a:pt x="32" y="12"/>
                  </a:cubicBezTo>
                </a:path>
              </a:pathLst>
            </a:custGeom>
            <a:noFill/>
            <a:ln w="38100" cap="rnd" cmpd="sng">
              <a:solidFill>
                <a:srgbClr val="F05A4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000"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82F23E3-BEC9-C667-A152-C947C96851B9}"/>
              </a:ext>
            </a:extLst>
          </p:cNvPr>
          <p:cNvSpPr/>
          <p:nvPr/>
        </p:nvSpPr>
        <p:spPr>
          <a:xfrm>
            <a:off x="8954659" y="2146388"/>
            <a:ext cx="2975306" cy="124216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t">
            <a:no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Tidsramme:</a:t>
            </a: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Projektet har en tidsramme på i alt 26 uger, heraf 4 ugers baseline, 20 ugers testforløb samt 2 uger til afsluttende evalueringsrapport. </a:t>
            </a: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Forud for baseline har der været møder omkring test- og evalueringsmetoder i projektet. </a:t>
            </a:r>
          </a:p>
          <a:p>
            <a:pPr marL="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0" marR="0" lvl="0" indent="0" algn="l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64705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00304357890601"/>
</p:tagLst>
</file>

<file path=ppt/theme/theme1.xml><?xml version="1.0" encoding="utf-8"?>
<a:theme xmlns:a="http://schemas.openxmlformats.org/drawingml/2006/main" name="1_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itationVTI">
  <a:themeElements>
    <a:clrScheme name="Citation">
      <a:dk1>
        <a:sysClr val="windowText" lastClr="000000"/>
      </a:dk1>
      <a:lt1>
        <a:sysClr val="window" lastClr="FFFFFF"/>
      </a:lt1>
      <a:dk2>
        <a:srgbClr val="01375D"/>
      </a:dk2>
      <a:lt2>
        <a:srgbClr val="F3F2EF"/>
      </a:lt2>
      <a:accent1>
        <a:srgbClr val="29A3D2"/>
      </a:accent1>
      <a:accent2>
        <a:srgbClr val="0669AC"/>
      </a:accent2>
      <a:accent3>
        <a:srgbClr val="FD891C"/>
      </a:accent3>
      <a:accent4>
        <a:srgbClr val="FD6927"/>
      </a:accent4>
      <a:accent5>
        <a:srgbClr val="F95131"/>
      </a:accent5>
      <a:accent6>
        <a:srgbClr val="CE5FAE"/>
      </a:accent6>
      <a:hlink>
        <a:srgbClr val="0F8EC1"/>
      </a:hlink>
      <a:folHlink>
        <a:srgbClr val="DC6400"/>
      </a:folHlink>
    </a:clrScheme>
    <a:fontScheme name="Grandview">
      <a:majorFont>
        <a:latin typeface="Grandview"/>
        <a:ea typeface=""/>
        <a:cs typeface=""/>
      </a:majorFont>
      <a:minorFont>
        <a:latin typeface="Grandview Displ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tationVTI" id="{4899D957-8B31-4AB5-A19D-CB0353FFB667}" vid="{430294D6-2412-4BD3-B567-F0976EA49313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TemplafySlideTemplateConfiguration><![CDATA[{"slideVersion":1,"isValidatorEnabled":false,"isLocked":false,"elementsMetadata":[],"slideId":"638225167927059101","enableDocumentContentUpdater":false,"version":"2.0"}]]></TemplafySlideTemplateConfiguratio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D3F0E3B3995BD40A12FBA714551E5B9" ma:contentTypeVersion="14" ma:contentTypeDescription="Opret et nyt dokument." ma:contentTypeScope="" ma:versionID="a4e76f5325b8994eedd5fe7da27bed4c">
  <xsd:schema xmlns:xsd="http://www.w3.org/2001/XMLSchema" xmlns:xs="http://www.w3.org/2001/XMLSchema" xmlns:p="http://schemas.microsoft.com/office/2006/metadata/properties" xmlns:ns2="907f7f15-7eed-4298-bb16-9de11943a09e" xmlns:ns3="4380351e-dd17-46f0-bfa0-35bb2e2eef1d" targetNamespace="http://schemas.microsoft.com/office/2006/metadata/properties" ma:root="true" ma:fieldsID="662ccf7a891c1df63fd98fd1c241eb5a" ns2:_="" ns3:_="">
    <xsd:import namespace="907f7f15-7eed-4298-bb16-9de11943a09e"/>
    <xsd:import namespace="4380351e-dd17-46f0-bfa0-35bb2e2eef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7f7f15-7eed-4298-bb16-9de11943a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illedmærker" ma:readOnly="false" ma:fieldId="{5cf76f15-5ced-4ddc-b409-7134ff3c332f}" ma:taxonomyMulti="true" ma:sspId="d5b38e06-5ba0-4e5f-b171-142f1670293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80351e-dd17-46f0-bfa0-35bb2e2eef1d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c3665b7d-77b5-46f5-af16-5203e318c167}" ma:internalName="TaxCatchAll" ma:showField="CatchAllData" ma:web="4380351e-dd17-46f0-bfa0-35bb2e2eef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TemplafySlideFormConfiguration><![CDATA[{"formFields":[],"formDataEntries":[]}]]></TemplafySlideFormConfiguration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07f7f15-7eed-4298-bb16-9de11943a09e">
      <Terms xmlns="http://schemas.microsoft.com/office/infopath/2007/PartnerControls"/>
    </lcf76f155ced4ddcb4097134ff3c332f>
    <TaxCatchAll xmlns="4380351e-dd17-46f0-bfa0-35bb2e2eef1d" xsi:nil="true"/>
  </documentManagement>
</p:properties>
</file>

<file path=customXml/item6.xml><?xml version="1.0" encoding="utf-8"?>
<TemplafySlideTemplateConfiguration><![CDATA[{"slideVersion":1,"isValidatorEnabled":false,"isLocked":false,"elementsMetadata":[],"slideId":"638225167927059101","enableDocumentContentUpdater":false,"version":"2.0"}]]></TemplafySlideTemplateConfiguration>
</file>

<file path=customXml/item7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E2BF5590-2C11-4BD2-A4DC-1319FE6A6687}">
  <ds:schemaRefs/>
</ds:datastoreItem>
</file>

<file path=customXml/itemProps2.xml><?xml version="1.0" encoding="utf-8"?>
<ds:datastoreItem xmlns:ds="http://schemas.openxmlformats.org/officeDocument/2006/customXml" ds:itemID="{19461A1D-5814-4C25-9AC4-8FC2BBAD98CF}"/>
</file>

<file path=customXml/itemProps3.xml><?xml version="1.0" encoding="utf-8"?>
<ds:datastoreItem xmlns:ds="http://schemas.openxmlformats.org/officeDocument/2006/customXml" ds:itemID="{2208D27F-EC38-4B08-B328-FCCA37BA3440}">
  <ds:schemaRefs/>
</ds:datastoreItem>
</file>

<file path=customXml/itemProps4.xml><?xml version="1.0" encoding="utf-8"?>
<ds:datastoreItem xmlns:ds="http://schemas.openxmlformats.org/officeDocument/2006/customXml" ds:itemID="{483A9B05-3EA8-40DC-97CA-F3EAA4CAD78D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9952767B-119B-44BD-953E-4D4B65CD3CB2}">
  <ds:schemaRefs>
    <ds:schemaRef ds:uri="4380351e-dd17-46f0-bfa0-35bb2e2eef1d"/>
    <ds:schemaRef ds:uri="907f7f15-7eed-4298-bb16-9de11943a09e"/>
    <ds:schemaRef ds:uri="http://schemas.microsoft.com/office/2006/metadata/properties"/>
    <ds:schemaRef ds:uri="http://schemas.microsoft.com/office/infopath/2007/PartnerControls"/>
  </ds:schemaRefs>
</ds:datastoreItem>
</file>

<file path=customXml/itemProps6.xml><?xml version="1.0" encoding="utf-8"?>
<ds:datastoreItem xmlns:ds="http://schemas.openxmlformats.org/officeDocument/2006/customXml" ds:itemID="{71F7EBA6-A2AB-45FD-AB26-55819E4D6F94}">
  <ds:schemaRefs/>
</ds:datastoreItem>
</file>

<file path=customXml/itemProps7.xml><?xml version="1.0" encoding="utf-8"?>
<ds:datastoreItem xmlns:ds="http://schemas.openxmlformats.org/officeDocument/2006/customXml" ds:itemID="{E6201B45-C110-4767-ABE5-5D33B7CCC88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70</Words>
  <Application>Microsoft Office PowerPoint</Application>
  <PresentationFormat>Widescreen</PresentationFormat>
  <Paragraphs>119</Paragraphs>
  <Slides>3</Slides>
  <Notes>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8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</vt:i4>
      </vt:variant>
    </vt:vector>
  </HeadingPairs>
  <TitlesOfParts>
    <vt:vector size="14" baseType="lpstr">
      <vt:lpstr>Aptos</vt:lpstr>
      <vt:lpstr>Arial</vt:lpstr>
      <vt:lpstr>Calibri</vt:lpstr>
      <vt:lpstr>Calibri Light</vt:lpstr>
      <vt:lpstr>Grandview</vt:lpstr>
      <vt:lpstr>Grandview Display</vt:lpstr>
      <vt:lpstr>Metropolis</vt:lpstr>
      <vt:lpstr>Segoe UI</vt:lpstr>
      <vt:lpstr>1_Office-tema</vt:lpstr>
      <vt:lpstr>CitationVTI</vt:lpstr>
      <vt:lpstr>think-cell Slide</vt:lpstr>
      <vt:lpstr>PowerPoint-præsentation</vt:lpstr>
      <vt:lpstr>PowerPoint-præsentation</vt:lpstr>
      <vt:lpstr>PowerPoint-præsentation</vt:lpstr>
    </vt:vector>
  </TitlesOfParts>
  <Company>Region Sjael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ERS</dc:title>
  <dc:creator>Carina Bruun Henriksen</dc:creator>
  <cp:lastModifiedBy>Pia Andersen</cp:lastModifiedBy>
  <cp:revision>1</cp:revision>
  <dcterms:created xsi:type="dcterms:W3CDTF">2024-07-05T09:07:55Z</dcterms:created>
  <dcterms:modified xsi:type="dcterms:W3CDTF">2025-09-01T05:5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3F0E3B3995BD40A12FBA714551E5B9</vt:lpwstr>
  </property>
  <property fmtid="{D5CDD505-2E9C-101B-9397-08002B2CF9AE}" pid="3" name="MediaServiceImageTags">
    <vt:lpwstr/>
  </property>
</Properties>
</file>